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4" r:id="rId1"/>
    <p:sldMasterId id="2147483744" r:id="rId2"/>
  </p:sldMasterIdLst>
  <p:notesMasterIdLst>
    <p:notesMasterId r:id="rId8"/>
  </p:notesMasterIdLst>
  <p:sldIdLst>
    <p:sldId id="2147327883" r:id="rId3"/>
    <p:sldId id="2147474544" r:id="rId4"/>
    <p:sldId id="2147474545" r:id="rId5"/>
    <p:sldId id="2147474546" r:id="rId6"/>
    <p:sldId id="2147474547" r:id="rId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CDD8702-4F32-B1AE-9327-0F827A83431B}" name="Filippo Chiricozzi" initials="FC" userId="S::F.Chiricozzi@docenti.w.academy::fff77194-1baa-4af8-859a-42adb2ffdf8d" providerId="AD"/>
  <p188:author id="{797CDA26-C28C-F857-A1B1-90FFAB5FCD10}" name="Maizza Paolo (Stage)" initials="MP(" userId="S::paolo.maizza@sella.it::0f88eba0-b141-4196-a3fd-2c5fc0920a8d" providerId="AD"/>
  <p188:author id="{790E6992-B4BB-4947-24DC-23423EF3372B}" name="Guaitoli Elena (Stage)" initials="G(" userId="S::elena.guaitoli@sella.it::37b7f1f4-625b-48b6-9504-805857c6545a" providerId="AD"/>
  <p188:author id="{BCE5229C-9398-91DE-6A74-1883DDF3C387}" name="Donega Riccardo" initials="RD" userId="S::riccardo.donega@sella.it::c5ebbd8e-25ad-4200-b29b-823ff86380f0" providerId="AD"/>
  <p188:author id="{A19228AE-471A-D940-FD6B-32CB3CEB060F}" name="Chiricozzi Filippo" initials="CF" userId="S::filippo.chiricozzi@sella.it::c0afb3cc-bfe7-4959-ade9-153a0f7f120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aitoli Elena (Stage)" initials="GE(" lastIdx="28" clrIdx="0">
    <p:extLst>
      <p:ext uri="{19B8F6BF-5375-455C-9EA6-DF929625EA0E}">
        <p15:presenceInfo xmlns:p15="http://schemas.microsoft.com/office/powerpoint/2012/main" userId="S::elena.guaitoli@sella.it::37b7f1f4-625b-48b6-9504-805857c6545a" providerId="AD"/>
      </p:ext>
    </p:extLst>
  </p:cmAuthor>
  <p:cmAuthor id="2" name="Maizza Paolo (Stage)" initials="MP(" lastIdx="3" clrIdx="1">
    <p:extLst>
      <p:ext uri="{19B8F6BF-5375-455C-9EA6-DF929625EA0E}">
        <p15:presenceInfo xmlns:p15="http://schemas.microsoft.com/office/powerpoint/2012/main" userId="S::paolo.maizza@sella.it::0f88eba0-b141-4196-a3fd-2c5fc0920a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AB0"/>
    <a:srgbClr val="FDE555"/>
    <a:srgbClr val="FFFFCC"/>
    <a:srgbClr val="F5EC2F"/>
    <a:srgbClr val="FF9933"/>
    <a:srgbClr val="DCEDF5"/>
    <a:srgbClr val="1036C4"/>
    <a:srgbClr val="F0EA00"/>
    <a:srgbClr val="FFFF66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C075761-4B66-C441-8225-5B14CFAB5FFB}" v="11" dt="2026-04-17T08:00:31.4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78"/>
    <p:restoredTop sz="94737"/>
  </p:normalViewPr>
  <p:slideViewPr>
    <p:cSldViewPr snapToGrid="0">
      <p:cViewPr varScale="1">
        <p:scale>
          <a:sx n="119" d="100"/>
          <a:sy n="119" d="100"/>
        </p:scale>
        <p:origin x="224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Relationship Id="rId14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CC65082-AA8C-B041-8004-6CC4F758DBAA}" type="doc">
      <dgm:prSet loTypeId="urn:microsoft.com/office/officeart/2005/8/layout/hierarchy1" loCatId="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it-IT"/>
        </a:p>
      </dgm:t>
    </dgm:pt>
    <dgm:pt modelId="{CB1A550A-0378-664F-8AAE-C5487E8C71C1}">
      <dgm:prSet phldrT="[Testo]"/>
      <dgm:spPr/>
      <dgm:t>
        <a:bodyPr/>
        <a:lstStyle/>
        <a:p>
          <a:r>
            <a:rPr lang="it-IT" b="1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Strategia Identità Digitale</a:t>
          </a:r>
        </a:p>
      </dgm:t>
    </dgm:pt>
    <dgm:pt modelId="{7EB688E7-1B00-5F48-8E9B-804754A7F534}" type="parTrans" cxnId="{4803B47F-60F0-4A47-9A9E-267BCC76364F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12A9EF72-F669-804D-A608-41DC660281D1}" type="sibTrans" cxnId="{4803B47F-60F0-4A47-9A9E-267BCC76364F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F95FA3B7-502A-F047-9291-C684170C9B8F}">
      <dgm:prSet phldrT="[Testo]"/>
      <dgm:spPr>
        <a:solidFill>
          <a:schemeClr val="accent1">
            <a:lumMod val="90000"/>
            <a:alpha val="90000"/>
          </a:schemeClr>
        </a:solidFill>
      </dgm:spPr>
      <dgm:t>
        <a:bodyPr/>
        <a:lstStyle/>
        <a:p>
          <a:r>
            <a:rPr lang="it-IT" b="1" dirty="0">
              <a:solidFill>
                <a:schemeClr val="bg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Sella</a:t>
          </a:r>
        </a:p>
      </dgm:t>
    </dgm:pt>
    <dgm:pt modelId="{1831C6E6-2BEF-9745-A7D3-81236DBA9877}" type="parTrans" cxnId="{11E1A50D-D479-684E-BB22-B2EE28E3F46F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EF94E226-0523-644A-98A1-5DE48BA84820}" type="sibTrans" cxnId="{11E1A50D-D479-684E-BB22-B2EE28E3F46F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D3D7AFBA-F472-B045-A0E6-C3DE732FE42A}">
      <dgm:prSet phldrT="[Testo]"/>
      <dgm:spPr>
        <a:solidFill>
          <a:schemeClr val="accent1">
            <a:lumMod val="90000"/>
            <a:alpha val="90000"/>
          </a:schemeClr>
        </a:solidFill>
      </dgm:spPr>
      <dgm:t>
        <a:bodyPr/>
        <a:lstStyle/>
        <a:p>
          <a:r>
            <a:rPr lang="it-IT" dirty="0">
              <a:solidFill>
                <a:schemeClr val="bg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Piattaforme Interne</a:t>
          </a:r>
        </a:p>
      </dgm:t>
    </dgm:pt>
    <dgm:pt modelId="{A591C5E2-BD2D-4144-A07D-C8D4EB2AA3F6}" type="parTrans" cxnId="{FB1F3349-6D80-864D-A36F-F83A9C1A90CB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6765C912-E07F-E04C-B0D5-A01F14362C81}" type="sibTrans" cxnId="{FB1F3349-6D80-864D-A36F-F83A9C1A90CB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753D6E03-CBEF-CA42-904F-F7B00FA79381}">
      <dgm:prSet phldrT="[Testo]"/>
      <dgm:spPr>
        <a:solidFill>
          <a:schemeClr val="accent1">
            <a:lumMod val="90000"/>
            <a:alpha val="90000"/>
          </a:schemeClr>
        </a:solidFill>
      </dgm:spPr>
      <dgm:t>
        <a:bodyPr/>
        <a:lstStyle/>
        <a:p>
          <a:r>
            <a:rPr lang="it-IT" dirty="0">
              <a:solidFill>
                <a:schemeClr val="bg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Collaborazione con altri prodotti e team</a:t>
          </a:r>
        </a:p>
      </dgm:t>
    </dgm:pt>
    <dgm:pt modelId="{C7D7A767-FCFB-CF49-99F7-CE015890616A}" type="parTrans" cxnId="{D29C14FD-B35D-2748-8CCB-E92E7EA4FA00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C0D720F8-34CA-9E44-8B97-99244D9109C5}" type="sibTrans" cxnId="{D29C14FD-B35D-2748-8CCB-E92E7EA4FA00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C5365DDC-1867-9440-9A8A-AC11D4405D16}">
      <dgm:prSet phldrT="[Testo]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it-IT" b="1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Focus Esterno</a:t>
          </a:r>
        </a:p>
      </dgm:t>
    </dgm:pt>
    <dgm:pt modelId="{378B0241-C991-0944-849D-2392507D2839}" type="parTrans" cxnId="{154F743F-996F-774D-83D0-B97117FC1FAA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4F316290-7AD1-C447-91E3-2ED1C60AD234}" type="sibTrans" cxnId="{154F743F-996F-774D-83D0-B97117FC1FAA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CCF2C633-4605-DE43-A8AA-062924E74172}">
      <dgm:prSet phldrT="[Testo]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it-IT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Large Scale Pilot</a:t>
          </a:r>
        </a:p>
      </dgm:t>
    </dgm:pt>
    <dgm:pt modelId="{5E97DD92-A955-D448-9315-D6AD993BCECA}" type="parTrans" cxnId="{268AE381-4197-7447-B016-72317E129B6B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03CA4679-B13C-4A46-85A0-0DC30BD7D556}" type="sibTrans" cxnId="{268AE381-4197-7447-B016-72317E129B6B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318DF6F6-705E-3046-84D9-2C773DEBC429}">
      <dgm:prSet phldrT="[Testo]"/>
      <dgm:spPr>
        <a:solidFill>
          <a:schemeClr val="accent1">
            <a:lumMod val="90000"/>
            <a:alpha val="90000"/>
          </a:schemeClr>
        </a:solidFill>
      </dgm:spPr>
      <dgm:t>
        <a:bodyPr/>
        <a:lstStyle/>
        <a:p>
          <a:r>
            <a:rPr lang="it-IT" dirty="0">
              <a:solidFill>
                <a:schemeClr val="bg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Formazione</a:t>
          </a:r>
        </a:p>
      </dgm:t>
    </dgm:pt>
    <dgm:pt modelId="{64DC1F24-1CF6-2647-B917-FFCBB11FEECD}" type="parTrans" cxnId="{8DE9B5D2-4E9F-4547-932C-A7142D887477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EEFE8E70-29A9-A14C-A8F0-30002FB8B6D5}" type="sibTrans" cxnId="{8DE9B5D2-4E9F-4547-932C-A7142D887477}">
      <dgm:prSet/>
      <dgm:spPr/>
      <dgm:t>
        <a:bodyPr/>
        <a:lstStyle/>
        <a:p>
          <a:endParaRPr lang="it-IT">
            <a:latin typeface="Sella Regular" panose="02000503040000020004" pitchFamily="2" charset="0"/>
            <a:ea typeface="Sella Regular" panose="02000503040000020004" pitchFamily="2" charset="0"/>
            <a:cs typeface="Sella Regular" panose="02000503040000020004" pitchFamily="2" charset="0"/>
          </a:endParaRPr>
        </a:p>
      </dgm:t>
    </dgm:pt>
    <dgm:pt modelId="{AF51E793-2FED-2A46-BC10-4847BD2A5F60}" type="pres">
      <dgm:prSet presAssocID="{ECC65082-AA8C-B041-8004-6CC4F758DBAA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CD1638E-BA7F-C147-B979-1A132599FABB}" type="pres">
      <dgm:prSet presAssocID="{CB1A550A-0378-664F-8AAE-C5487E8C71C1}" presName="hierRoot1" presStyleCnt="0"/>
      <dgm:spPr/>
    </dgm:pt>
    <dgm:pt modelId="{ADC3E7D1-0B1E-A643-A48C-2BD97203D949}" type="pres">
      <dgm:prSet presAssocID="{CB1A550A-0378-664F-8AAE-C5487E8C71C1}" presName="composite" presStyleCnt="0"/>
      <dgm:spPr/>
    </dgm:pt>
    <dgm:pt modelId="{7FA9B56F-DC3B-3A4E-A661-9E165070E271}" type="pres">
      <dgm:prSet presAssocID="{CB1A550A-0378-664F-8AAE-C5487E8C71C1}" presName="background" presStyleLbl="node0" presStyleIdx="0" presStyleCnt="1"/>
      <dgm:spPr/>
    </dgm:pt>
    <dgm:pt modelId="{09C1DD98-C02B-2042-AEE7-A0797F0E4129}" type="pres">
      <dgm:prSet presAssocID="{CB1A550A-0378-664F-8AAE-C5487E8C71C1}" presName="text" presStyleLbl="fgAcc0" presStyleIdx="0" presStyleCnt="1">
        <dgm:presLayoutVars>
          <dgm:chPref val="3"/>
        </dgm:presLayoutVars>
      </dgm:prSet>
      <dgm:spPr/>
    </dgm:pt>
    <dgm:pt modelId="{B3D86A8B-8313-C24F-A610-8223290EA6CF}" type="pres">
      <dgm:prSet presAssocID="{CB1A550A-0378-664F-8AAE-C5487E8C71C1}" presName="hierChild2" presStyleCnt="0"/>
      <dgm:spPr/>
    </dgm:pt>
    <dgm:pt modelId="{59331CFF-FDC0-F942-89F4-C86C2E160997}" type="pres">
      <dgm:prSet presAssocID="{1831C6E6-2BEF-9745-A7D3-81236DBA9877}" presName="Name10" presStyleLbl="parChTrans1D2" presStyleIdx="0" presStyleCnt="2"/>
      <dgm:spPr/>
    </dgm:pt>
    <dgm:pt modelId="{C1F16429-B13F-424E-92AA-1B31770B8DDD}" type="pres">
      <dgm:prSet presAssocID="{F95FA3B7-502A-F047-9291-C684170C9B8F}" presName="hierRoot2" presStyleCnt="0"/>
      <dgm:spPr/>
    </dgm:pt>
    <dgm:pt modelId="{5D59DFB2-3B39-A942-8365-533BA5CE8C97}" type="pres">
      <dgm:prSet presAssocID="{F95FA3B7-502A-F047-9291-C684170C9B8F}" presName="composite2" presStyleCnt="0"/>
      <dgm:spPr/>
    </dgm:pt>
    <dgm:pt modelId="{0ACAB87E-A62F-EF4F-93FD-6EAC5DDF456E}" type="pres">
      <dgm:prSet presAssocID="{F95FA3B7-502A-F047-9291-C684170C9B8F}" presName="background2" presStyleLbl="node2" presStyleIdx="0" presStyleCnt="2"/>
      <dgm:spPr/>
    </dgm:pt>
    <dgm:pt modelId="{AA1C5B29-A1F1-1D41-9345-1FC52493A6B3}" type="pres">
      <dgm:prSet presAssocID="{F95FA3B7-502A-F047-9291-C684170C9B8F}" presName="text2" presStyleLbl="fgAcc2" presStyleIdx="0" presStyleCnt="2">
        <dgm:presLayoutVars>
          <dgm:chPref val="3"/>
        </dgm:presLayoutVars>
      </dgm:prSet>
      <dgm:spPr/>
    </dgm:pt>
    <dgm:pt modelId="{AC030AB0-6E33-2647-82A9-E1E9656910D0}" type="pres">
      <dgm:prSet presAssocID="{F95FA3B7-502A-F047-9291-C684170C9B8F}" presName="hierChild3" presStyleCnt="0"/>
      <dgm:spPr/>
    </dgm:pt>
    <dgm:pt modelId="{0010F6CE-37E3-AF4F-A3E8-67AD5844BCE5}" type="pres">
      <dgm:prSet presAssocID="{A591C5E2-BD2D-4144-A07D-C8D4EB2AA3F6}" presName="Name17" presStyleLbl="parChTrans1D3" presStyleIdx="0" presStyleCnt="4"/>
      <dgm:spPr/>
    </dgm:pt>
    <dgm:pt modelId="{CBF63AF6-BC66-2643-AAB8-E7313AA711E3}" type="pres">
      <dgm:prSet presAssocID="{D3D7AFBA-F472-B045-A0E6-C3DE732FE42A}" presName="hierRoot3" presStyleCnt="0"/>
      <dgm:spPr/>
    </dgm:pt>
    <dgm:pt modelId="{FDF4096F-4D5E-7D43-8F8E-2B82991766BC}" type="pres">
      <dgm:prSet presAssocID="{D3D7AFBA-F472-B045-A0E6-C3DE732FE42A}" presName="composite3" presStyleCnt="0"/>
      <dgm:spPr/>
    </dgm:pt>
    <dgm:pt modelId="{83EFDD1D-0DD5-8B4C-BDA9-04B3346A49B6}" type="pres">
      <dgm:prSet presAssocID="{D3D7AFBA-F472-B045-A0E6-C3DE732FE42A}" presName="background3" presStyleLbl="node3" presStyleIdx="0" presStyleCnt="4"/>
      <dgm:spPr/>
    </dgm:pt>
    <dgm:pt modelId="{AA23F8D5-87E0-8C47-8C70-91AB2A3D2F1E}" type="pres">
      <dgm:prSet presAssocID="{D3D7AFBA-F472-B045-A0E6-C3DE732FE42A}" presName="text3" presStyleLbl="fgAcc3" presStyleIdx="0" presStyleCnt="4">
        <dgm:presLayoutVars>
          <dgm:chPref val="3"/>
        </dgm:presLayoutVars>
      </dgm:prSet>
      <dgm:spPr/>
    </dgm:pt>
    <dgm:pt modelId="{D463D153-295A-2F47-A7D3-9EE52C684B22}" type="pres">
      <dgm:prSet presAssocID="{D3D7AFBA-F472-B045-A0E6-C3DE732FE42A}" presName="hierChild4" presStyleCnt="0"/>
      <dgm:spPr/>
    </dgm:pt>
    <dgm:pt modelId="{47390C05-B806-0841-B5F4-C5CF1492B498}" type="pres">
      <dgm:prSet presAssocID="{C7D7A767-FCFB-CF49-99F7-CE015890616A}" presName="Name17" presStyleLbl="parChTrans1D3" presStyleIdx="1" presStyleCnt="4"/>
      <dgm:spPr/>
    </dgm:pt>
    <dgm:pt modelId="{CFD98910-01A7-004E-A51F-932AF3AE3C58}" type="pres">
      <dgm:prSet presAssocID="{753D6E03-CBEF-CA42-904F-F7B00FA79381}" presName="hierRoot3" presStyleCnt="0"/>
      <dgm:spPr/>
    </dgm:pt>
    <dgm:pt modelId="{1F74DB03-C5F9-D14C-A378-DA4074F156E3}" type="pres">
      <dgm:prSet presAssocID="{753D6E03-CBEF-CA42-904F-F7B00FA79381}" presName="composite3" presStyleCnt="0"/>
      <dgm:spPr/>
    </dgm:pt>
    <dgm:pt modelId="{A5061F09-0A1A-2841-9D5C-1FC9B3A6BDE2}" type="pres">
      <dgm:prSet presAssocID="{753D6E03-CBEF-CA42-904F-F7B00FA79381}" presName="background3" presStyleLbl="node3" presStyleIdx="1" presStyleCnt="4"/>
      <dgm:spPr/>
    </dgm:pt>
    <dgm:pt modelId="{42E8FA9D-21D6-E84A-AA35-64C4F4C4F3B8}" type="pres">
      <dgm:prSet presAssocID="{753D6E03-CBEF-CA42-904F-F7B00FA79381}" presName="text3" presStyleLbl="fgAcc3" presStyleIdx="1" presStyleCnt="4">
        <dgm:presLayoutVars>
          <dgm:chPref val="3"/>
        </dgm:presLayoutVars>
      </dgm:prSet>
      <dgm:spPr/>
    </dgm:pt>
    <dgm:pt modelId="{AC1BDBC8-DD34-3243-95FA-7270DCC1EA5C}" type="pres">
      <dgm:prSet presAssocID="{753D6E03-CBEF-CA42-904F-F7B00FA79381}" presName="hierChild4" presStyleCnt="0"/>
      <dgm:spPr/>
    </dgm:pt>
    <dgm:pt modelId="{8D8D7742-DA45-A841-9DD1-4389C85F1815}" type="pres">
      <dgm:prSet presAssocID="{64DC1F24-1CF6-2647-B917-FFCBB11FEECD}" presName="Name17" presStyleLbl="parChTrans1D3" presStyleIdx="2" presStyleCnt="4"/>
      <dgm:spPr/>
    </dgm:pt>
    <dgm:pt modelId="{D0591D85-0BF2-D642-8E7D-1391C2348B0D}" type="pres">
      <dgm:prSet presAssocID="{318DF6F6-705E-3046-84D9-2C773DEBC429}" presName="hierRoot3" presStyleCnt="0"/>
      <dgm:spPr/>
    </dgm:pt>
    <dgm:pt modelId="{BE8D5052-25E6-3645-A729-9C682DE6220E}" type="pres">
      <dgm:prSet presAssocID="{318DF6F6-705E-3046-84D9-2C773DEBC429}" presName="composite3" presStyleCnt="0"/>
      <dgm:spPr/>
    </dgm:pt>
    <dgm:pt modelId="{0B0CFA93-AB6E-A549-8B39-0497E7B66B7A}" type="pres">
      <dgm:prSet presAssocID="{318DF6F6-705E-3046-84D9-2C773DEBC429}" presName="background3" presStyleLbl="node3" presStyleIdx="2" presStyleCnt="4"/>
      <dgm:spPr/>
    </dgm:pt>
    <dgm:pt modelId="{189F4680-0245-D24E-AD7F-1A6D1E19F15B}" type="pres">
      <dgm:prSet presAssocID="{318DF6F6-705E-3046-84D9-2C773DEBC429}" presName="text3" presStyleLbl="fgAcc3" presStyleIdx="2" presStyleCnt="4">
        <dgm:presLayoutVars>
          <dgm:chPref val="3"/>
        </dgm:presLayoutVars>
      </dgm:prSet>
      <dgm:spPr/>
    </dgm:pt>
    <dgm:pt modelId="{2E57B33B-5AFE-A946-A9C2-62718B096709}" type="pres">
      <dgm:prSet presAssocID="{318DF6F6-705E-3046-84D9-2C773DEBC429}" presName="hierChild4" presStyleCnt="0"/>
      <dgm:spPr/>
    </dgm:pt>
    <dgm:pt modelId="{18DBAFF7-8E5C-C54F-86C7-9EE46E234E7F}" type="pres">
      <dgm:prSet presAssocID="{378B0241-C991-0944-849D-2392507D2839}" presName="Name10" presStyleLbl="parChTrans1D2" presStyleIdx="1" presStyleCnt="2"/>
      <dgm:spPr/>
    </dgm:pt>
    <dgm:pt modelId="{5455EF30-3DEC-3B44-92A9-4C9C12ED7571}" type="pres">
      <dgm:prSet presAssocID="{C5365DDC-1867-9440-9A8A-AC11D4405D16}" presName="hierRoot2" presStyleCnt="0"/>
      <dgm:spPr/>
    </dgm:pt>
    <dgm:pt modelId="{353763B1-4D60-9843-B17F-D30FE4E68087}" type="pres">
      <dgm:prSet presAssocID="{C5365DDC-1867-9440-9A8A-AC11D4405D16}" presName="composite2" presStyleCnt="0"/>
      <dgm:spPr/>
    </dgm:pt>
    <dgm:pt modelId="{DAC3EB60-3F7E-D246-B54C-EFD2ACFC99FE}" type="pres">
      <dgm:prSet presAssocID="{C5365DDC-1867-9440-9A8A-AC11D4405D16}" presName="background2" presStyleLbl="node2" presStyleIdx="1" presStyleCnt="2"/>
      <dgm:spPr/>
    </dgm:pt>
    <dgm:pt modelId="{9E63F1C2-89C0-AB42-A18A-4FBF7FA8A83F}" type="pres">
      <dgm:prSet presAssocID="{C5365DDC-1867-9440-9A8A-AC11D4405D16}" presName="text2" presStyleLbl="fgAcc2" presStyleIdx="1" presStyleCnt="2">
        <dgm:presLayoutVars>
          <dgm:chPref val="3"/>
        </dgm:presLayoutVars>
      </dgm:prSet>
      <dgm:spPr/>
    </dgm:pt>
    <dgm:pt modelId="{3B2C622F-2A4F-4E48-BB5C-CCB1DBDE84DD}" type="pres">
      <dgm:prSet presAssocID="{C5365DDC-1867-9440-9A8A-AC11D4405D16}" presName="hierChild3" presStyleCnt="0"/>
      <dgm:spPr/>
    </dgm:pt>
    <dgm:pt modelId="{C5755DAA-87A3-6D41-B439-993F294A1FE4}" type="pres">
      <dgm:prSet presAssocID="{5E97DD92-A955-D448-9315-D6AD993BCECA}" presName="Name17" presStyleLbl="parChTrans1D3" presStyleIdx="3" presStyleCnt="4"/>
      <dgm:spPr/>
    </dgm:pt>
    <dgm:pt modelId="{BFC74812-B903-7544-A115-A44B4B8D4406}" type="pres">
      <dgm:prSet presAssocID="{CCF2C633-4605-DE43-A8AA-062924E74172}" presName="hierRoot3" presStyleCnt="0"/>
      <dgm:spPr/>
    </dgm:pt>
    <dgm:pt modelId="{A687C1AC-57CA-414E-B08E-E4F89F06E9AF}" type="pres">
      <dgm:prSet presAssocID="{CCF2C633-4605-DE43-A8AA-062924E74172}" presName="composite3" presStyleCnt="0"/>
      <dgm:spPr/>
    </dgm:pt>
    <dgm:pt modelId="{FB1EF35A-6C27-EA4A-A7B2-02AF833C7B16}" type="pres">
      <dgm:prSet presAssocID="{CCF2C633-4605-DE43-A8AA-062924E74172}" presName="background3" presStyleLbl="node3" presStyleIdx="3" presStyleCnt="4"/>
      <dgm:spPr/>
    </dgm:pt>
    <dgm:pt modelId="{C2C83EA4-64D8-0E4E-AB5E-1C75AB7CFFAC}" type="pres">
      <dgm:prSet presAssocID="{CCF2C633-4605-DE43-A8AA-062924E74172}" presName="text3" presStyleLbl="fgAcc3" presStyleIdx="3" presStyleCnt="4">
        <dgm:presLayoutVars>
          <dgm:chPref val="3"/>
        </dgm:presLayoutVars>
      </dgm:prSet>
      <dgm:spPr/>
    </dgm:pt>
    <dgm:pt modelId="{279BB149-6F5A-654C-9F53-2F255B6D80A9}" type="pres">
      <dgm:prSet presAssocID="{CCF2C633-4605-DE43-A8AA-062924E74172}" presName="hierChild4" presStyleCnt="0"/>
      <dgm:spPr/>
    </dgm:pt>
  </dgm:ptLst>
  <dgm:cxnLst>
    <dgm:cxn modelId="{C011E107-2F80-DD4B-8C9B-B5BAF46276E0}" type="presOf" srcId="{5E97DD92-A955-D448-9315-D6AD993BCECA}" destId="{C5755DAA-87A3-6D41-B439-993F294A1FE4}" srcOrd="0" destOrd="0" presId="urn:microsoft.com/office/officeart/2005/8/layout/hierarchy1"/>
    <dgm:cxn modelId="{11E1A50D-D479-684E-BB22-B2EE28E3F46F}" srcId="{CB1A550A-0378-664F-8AAE-C5487E8C71C1}" destId="{F95FA3B7-502A-F047-9291-C684170C9B8F}" srcOrd="0" destOrd="0" parTransId="{1831C6E6-2BEF-9745-A7D3-81236DBA9877}" sibTransId="{EF94E226-0523-644A-98A1-5DE48BA84820}"/>
    <dgm:cxn modelId="{2AF9AD1F-12DD-214A-B392-D4E74278C15D}" type="presOf" srcId="{318DF6F6-705E-3046-84D9-2C773DEBC429}" destId="{189F4680-0245-D24E-AD7F-1A6D1E19F15B}" srcOrd="0" destOrd="0" presId="urn:microsoft.com/office/officeart/2005/8/layout/hierarchy1"/>
    <dgm:cxn modelId="{7D524531-3A05-0448-905B-15F0352861BC}" type="presOf" srcId="{F95FA3B7-502A-F047-9291-C684170C9B8F}" destId="{AA1C5B29-A1F1-1D41-9345-1FC52493A6B3}" srcOrd="0" destOrd="0" presId="urn:microsoft.com/office/officeart/2005/8/layout/hierarchy1"/>
    <dgm:cxn modelId="{154F743F-996F-774D-83D0-B97117FC1FAA}" srcId="{CB1A550A-0378-664F-8AAE-C5487E8C71C1}" destId="{C5365DDC-1867-9440-9A8A-AC11D4405D16}" srcOrd="1" destOrd="0" parTransId="{378B0241-C991-0944-849D-2392507D2839}" sibTransId="{4F316290-7AD1-C447-91E3-2ED1C60AD234}"/>
    <dgm:cxn modelId="{458B2944-2F99-C842-9CA3-3A68C96B43C3}" type="presOf" srcId="{64DC1F24-1CF6-2647-B917-FFCBB11FEECD}" destId="{8D8D7742-DA45-A841-9DD1-4389C85F1815}" srcOrd="0" destOrd="0" presId="urn:microsoft.com/office/officeart/2005/8/layout/hierarchy1"/>
    <dgm:cxn modelId="{FB1F3349-6D80-864D-A36F-F83A9C1A90CB}" srcId="{F95FA3B7-502A-F047-9291-C684170C9B8F}" destId="{D3D7AFBA-F472-B045-A0E6-C3DE732FE42A}" srcOrd="0" destOrd="0" parTransId="{A591C5E2-BD2D-4144-A07D-C8D4EB2AA3F6}" sibTransId="{6765C912-E07F-E04C-B0D5-A01F14362C81}"/>
    <dgm:cxn modelId="{A7571E5D-233A-1C48-B88A-053E3A8356B7}" type="presOf" srcId="{1831C6E6-2BEF-9745-A7D3-81236DBA9877}" destId="{59331CFF-FDC0-F942-89F4-C86C2E160997}" srcOrd="0" destOrd="0" presId="urn:microsoft.com/office/officeart/2005/8/layout/hierarchy1"/>
    <dgm:cxn modelId="{43776867-DD26-CB46-9829-E0D19A6BED66}" type="presOf" srcId="{C7D7A767-FCFB-CF49-99F7-CE015890616A}" destId="{47390C05-B806-0841-B5F4-C5CF1492B498}" srcOrd="0" destOrd="0" presId="urn:microsoft.com/office/officeart/2005/8/layout/hierarchy1"/>
    <dgm:cxn modelId="{B1E5C871-272C-2044-9936-674364B4DAB5}" type="presOf" srcId="{D3D7AFBA-F472-B045-A0E6-C3DE732FE42A}" destId="{AA23F8D5-87E0-8C47-8C70-91AB2A3D2F1E}" srcOrd="0" destOrd="0" presId="urn:microsoft.com/office/officeart/2005/8/layout/hierarchy1"/>
    <dgm:cxn modelId="{DFB88574-9020-754F-AD37-6994F41B59CD}" type="presOf" srcId="{CB1A550A-0378-664F-8AAE-C5487E8C71C1}" destId="{09C1DD98-C02B-2042-AEE7-A0797F0E4129}" srcOrd="0" destOrd="0" presId="urn:microsoft.com/office/officeart/2005/8/layout/hierarchy1"/>
    <dgm:cxn modelId="{4803B47F-60F0-4A47-9A9E-267BCC76364F}" srcId="{ECC65082-AA8C-B041-8004-6CC4F758DBAA}" destId="{CB1A550A-0378-664F-8AAE-C5487E8C71C1}" srcOrd="0" destOrd="0" parTransId="{7EB688E7-1B00-5F48-8E9B-804754A7F534}" sibTransId="{12A9EF72-F669-804D-A608-41DC660281D1}"/>
    <dgm:cxn modelId="{268AE381-4197-7447-B016-72317E129B6B}" srcId="{C5365DDC-1867-9440-9A8A-AC11D4405D16}" destId="{CCF2C633-4605-DE43-A8AA-062924E74172}" srcOrd="0" destOrd="0" parTransId="{5E97DD92-A955-D448-9315-D6AD993BCECA}" sibTransId="{03CA4679-B13C-4A46-85A0-0DC30BD7D556}"/>
    <dgm:cxn modelId="{4E31AC83-A3D3-014C-A895-69E769BDB680}" type="presOf" srcId="{A591C5E2-BD2D-4144-A07D-C8D4EB2AA3F6}" destId="{0010F6CE-37E3-AF4F-A3E8-67AD5844BCE5}" srcOrd="0" destOrd="0" presId="urn:microsoft.com/office/officeart/2005/8/layout/hierarchy1"/>
    <dgm:cxn modelId="{2250FF85-46B9-2A4B-9D1E-9F6F958EF77E}" type="presOf" srcId="{C5365DDC-1867-9440-9A8A-AC11D4405D16}" destId="{9E63F1C2-89C0-AB42-A18A-4FBF7FA8A83F}" srcOrd="0" destOrd="0" presId="urn:microsoft.com/office/officeart/2005/8/layout/hierarchy1"/>
    <dgm:cxn modelId="{B6192CA2-DE3D-2645-9A06-0AB2E2691998}" type="presOf" srcId="{CCF2C633-4605-DE43-A8AA-062924E74172}" destId="{C2C83EA4-64D8-0E4E-AB5E-1C75AB7CFFAC}" srcOrd="0" destOrd="0" presId="urn:microsoft.com/office/officeart/2005/8/layout/hierarchy1"/>
    <dgm:cxn modelId="{8DE9B5D2-4E9F-4547-932C-A7142D887477}" srcId="{F95FA3B7-502A-F047-9291-C684170C9B8F}" destId="{318DF6F6-705E-3046-84D9-2C773DEBC429}" srcOrd="2" destOrd="0" parTransId="{64DC1F24-1CF6-2647-B917-FFCBB11FEECD}" sibTransId="{EEFE8E70-29A9-A14C-A8F0-30002FB8B6D5}"/>
    <dgm:cxn modelId="{519501E8-D7BB-FF47-941C-A7453309DC80}" type="presOf" srcId="{753D6E03-CBEF-CA42-904F-F7B00FA79381}" destId="{42E8FA9D-21D6-E84A-AA35-64C4F4C4F3B8}" srcOrd="0" destOrd="0" presId="urn:microsoft.com/office/officeart/2005/8/layout/hierarchy1"/>
    <dgm:cxn modelId="{3FD41CEA-5F60-DF46-A370-6103E896AC91}" type="presOf" srcId="{ECC65082-AA8C-B041-8004-6CC4F758DBAA}" destId="{AF51E793-2FED-2A46-BC10-4847BD2A5F60}" srcOrd="0" destOrd="0" presId="urn:microsoft.com/office/officeart/2005/8/layout/hierarchy1"/>
    <dgm:cxn modelId="{D29C14FD-B35D-2748-8CCB-E92E7EA4FA00}" srcId="{F95FA3B7-502A-F047-9291-C684170C9B8F}" destId="{753D6E03-CBEF-CA42-904F-F7B00FA79381}" srcOrd="1" destOrd="0" parTransId="{C7D7A767-FCFB-CF49-99F7-CE015890616A}" sibTransId="{C0D720F8-34CA-9E44-8B97-99244D9109C5}"/>
    <dgm:cxn modelId="{83F54BFD-0011-2948-AE7B-603CDD5EE996}" type="presOf" srcId="{378B0241-C991-0944-849D-2392507D2839}" destId="{18DBAFF7-8E5C-C54F-86C7-9EE46E234E7F}" srcOrd="0" destOrd="0" presId="urn:microsoft.com/office/officeart/2005/8/layout/hierarchy1"/>
    <dgm:cxn modelId="{11842F46-A677-6044-9BEB-E072A98BBEB5}" type="presParOf" srcId="{AF51E793-2FED-2A46-BC10-4847BD2A5F60}" destId="{4CD1638E-BA7F-C147-B979-1A132599FABB}" srcOrd="0" destOrd="0" presId="urn:microsoft.com/office/officeart/2005/8/layout/hierarchy1"/>
    <dgm:cxn modelId="{ECCC5B78-A70F-FF47-85EC-62F4BDDF21A6}" type="presParOf" srcId="{4CD1638E-BA7F-C147-B979-1A132599FABB}" destId="{ADC3E7D1-0B1E-A643-A48C-2BD97203D949}" srcOrd="0" destOrd="0" presId="urn:microsoft.com/office/officeart/2005/8/layout/hierarchy1"/>
    <dgm:cxn modelId="{EB534E62-14ED-AB4D-B5F1-D5F22E2ED517}" type="presParOf" srcId="{ADC3E7D1-0B1E-A643-A48C-2BD97203D949}" destId="{7FA9B56F-DC3B-3A4E-A661-9E165070E271}" srcOrd="0" destOrd="0" presId="urn:microsoft.com/office/officeart/2005/8/layout/hierarchy1"/>
    <dgm:cxn modelId="{DFE7EC74-B176-6344-B34E-DB4E5FBF4CAE}" type="presParOf" srcId="{ADC3E7D1-0B1E-A643-A48C-2BD97203D949}" destId="{09C1DD98-C02B-2042-AEE7-A0797F0E4129}" srcOrd="1" destOrd="0" presId="urn:microsoft.com/office/officeart/2005/8/layout/hierarchy1"/>
    <dgm:cxn modelId="{3BE770F3-846A-E047-B282-37B267689A4C}" type="presParOf" srcId="{4CD1638E-BA7F-C147-B979-1A132599FABB}" destId="{B3D86A8B-8313-C24F-A610-8223290EA6CF}" srcOrd="1" destOrd="0" presId="urn:microsoft.com/office/officeart/2005/8/layout/hierarchy1"/>
    <dgm:cxn modelId="{AB87AF08-60B8-0840-84E4-EAEF4DDA4738}" type="presParOf" srcId="{B3D86A8B-8313-C24F-A610-8223290EA6CF}" destId="{59331CFF-FDC0-F942-89F4-C86C2E160997}" srcOrd="0" destOrd="0" presId="urn:microsoft.com/office/officeart/2005/8/layout/hierarchy1"/>
    <dgm:cxn modelId="{9C5EECA2-5A8A-7F40-9A95-0D9E138582C1}" type="presParOf" srcId="{B3D86A8B-8313-C24F-A610-8223290EA6CF}" destId="{C1F16429-B13F-424E-92AA-1B31770B8DDD}" srcOrd="1" destOrd="0" presId="urn:microsoft.com/office/officeart/2005/8/layout/hierarchy1"/>
    <dgm:cxn modelId="{44C14962-2C7C-9B48-AF90-4BDEA20794DA}" type="presParOf" srcId="{C1F16429-B13F-424E-92AA-1B31770B8DDD}" destId="{5D59DFB2-3B39-A942-8365-533BA5CE8C97}" srcOrd="0" destOrd="0" presId="urn:microsoft.com/office/officeart/2005/8/layout/hierarchy1"/>
    <dgm:cxn modelId="{9616D8C0-05FF-8A4B-849D-644EDFD9CE62}" type="presParOf" srcId="{5D59DFB2-3B39-A942-8365-533BA5CE8C97}" destId="{0ACAB87E-A62F-EF4F-93FD-6EAC5DDF456E}" srcOrd="0" destOrd="0" presId="urn:microsoft.com/office/officeart/2005/8/layout/hierarchy1"/>
    <dgm:cxn modelId="{0B9D106C-C3D5-B744-9E97-D6EFE1A4D5F7}" type="presParOf" srcId="{5D59DFB2-3B39-A942-8365-533BA5CE8C97}" destId="{AA1C5B29-A1F1-1D41-9345-1FC52493A6B3}" srcOrd="1" destOrd="0" presId="urn:microsoft.com/office/officeart/2005/8/layout/hierarchy1"/>
    <dgm:cxn modelId="{CF28A3BA-3100-8E43-99B0-84EA748D810A}" type="presParOf" srcId="{C1F16429-B13F-424E-92AA-1B31770B8DDD}" destId="{AC030AB0-6E33-2647-82A9-E1E9656910D0}" srcOrd="1" destOrd="0" presId="urn:microsoft.com/office/officeart/2005/8/layout/hierarchy1"/>
    <dgm:cxn modelId="{8F6D7C9E-9E3D-8D44-BA3C-3CA4657D5262}" type="presParOf" srcId="{AC030AB0-6E33-2647-82A9-E1E9656910D0}" destId="{0010F6CE-37E3-AF4F-A3E8-67AD5844BCE5}" srcOrd="0" destOrd="0" presId="urn:microsoft.com/office/officeart/2005/8/layout/hierarchy1"/>
    <dgm:cxn modelId="{8C3215DC-5C27-B94A-80B3-EA7AB82AB685}" type="presParOf" srcId="{AC030AB0-6E33-2647-82A9-E1E9656910D0}" destId="{CBF63AF6-BC66-2643-AAB8-E7313AA711E3}" srcOrd="1" destOrd="0" presId="urn:microsoft.com/office/officeart/2005/8/layout/hierarchy1"/>
    <dgm:cxn modelId="{83D582BF-7A46-9F49-AE8E-A65249F06717}" type="presParOf" srcId="{CBF63AF6-BC66-2643-AAB8-E7313AA711E3}" destId="{FDF4096F-4D5E-7D43-8F8E-2B82991766BC}" srcOrd="0" destOrd="0" presId="urn:microsoft.com/office/officeart/2005/8/layout/hierarchy1"/>
    <dgm:cxn modelId="{610906DB-4143-D141-8038-3ECA211F9393}" type="presParOf" srcId="{FDF4096F-4D5E-7D43-8F8E-2B82991766BC}" destId="{83EFDD1D-0DD5-8B4C-BDA9-04B3346A49B6}" srcOrd="0" destOrd="0" presId="urn:microsoft.com/office/officeart/2005/8/layout/hierarchy1"/>
    <dgm:cxn modelId="{6C0E6446-2DAD-724D-950A-6762E0BB2EA7}" type="presParOf" srcId="{FDF4096F-4D5E-7D43-8F8E-2B82991766BC}" destId="{AA23F8D5-87E0-8C47-8C70-91AB2A3D2F1E}" srcOrd="1" destOrd="0" presId="urn:microsoft.com/office/officeart/2005/8/layout/hierarchy1"/>
    <dgm:cxn modelId="{CAA80F2A-5D6C-9F4D-A861-0C0C4CDCA9EE}" type="presParOf" srcId="{CBF63AF6-BC66-2643-AAB8-E7313AA711E3}" destId="{D463D153-295A-2F47-A7D3-9EE52C684B22}" srcOrd="1" destOrd="0" presId="urn:microsoft.com/office/officeart/2005/8/layout/hierarchy1"/>
    <dgm:cxn modelId="{8FCDC0B5-2E70-D841-BE07-DAAF0706E5B1}" type="presParOf" srcId="{AC030AB0-6E33-2647-82A9-E1E9656910D0}" destId="{47390C05-B806-0841-B5F4-C5CF1492B498}" srcOrd="2" destOrd="0" presId="urn:microsoft.com/office/officeart/2005/8/layout/hierarchy1"/>
    <dgm:cxn modelId="{38BD35F3-BB08-7D46-86B6-C2DBBB91B918}" type="presParOf" srcId="{AC030AB0-6E33-2647-82A9-E1E9656910D0}" destId="{CFD98910-01A7-004E-A51F-932AF3AE3C58}" srcOrd="3" destOrd="0" presId="urn:microsoft.com/office/officeart/2005/8/layout/hierarchy1"/>
    <dgm:cxn modelId="{8A1A4C4E-6AA4-C046-9B78-ABBC468CFEA2}" type="presParOf" srcId="{CFD98910-01A7-004E-A51F-932AF3AE3C58}" destId="{1F74DB03-C5F9-D14C-A378-DA4074F156E3}" srcOrd="0" destOrd="0" presId="urn:microsoft.com/office/officeart/2005/8/layout/hierarchy1"/>
    <dgm:cxn modelId="{B8E1148C-3EB5-784E-8EA5-AB7BCDF187EB}" type="presParOf" srcId="{1F74DB03-C5F9-D14C-A378-DA4074F156E3}" destId="{A5061F09-0A1A-2841-9D5C-1FC9B3A6BDE2}" srcOrd="0" destOrd="0" presId="urn:microsoft.com/office/officeart/2005/8/layout/hierarchy1"/>
    <dgm:cxn modelId="{45C84BB2-B309-6C4F-8E3E-E629B85BF0DD}" type="presParOf" srcId="{1F74DB03-C5F9-D14C-A378-DA4074F156E3}" destId="{42E8FA9D-21D6-E84A-AA35-64C4F4C4F3B8}" srcOrd="1" destOrd="0" presId="urn:microsoft.com/office/officeart/2005/8/layout/hierarchy1"/>
    <dgm:cxn modelId="{C3C14594-8075-DD4D-8DD9-8C811553C6B9}" type="presParOf" srcId="{CFD98910-01A7-004E-A51F-932AF3AE3C58}" destId="{AC1BDBC8-DD34-3243-95FA-7270DCC1EA5C}" srcOrd="1" destOrd="0" presId="urn:microsoft.com/office/officeart/2005/8/layout/hierarchy1"/>
    <dgm:cxn modelId="{2B2C061D-11EA-2543-8E34-3A7AB70A893C}" type="presParOf" srcId="{AC030AB0-6E33-2647-82A9-E1E9656910D0}" destId="{8D8D7742-DA45-A841-9DD1-4389C85F1815}" srcOrd="4" destOrd="0" presId="urn:microsoft.com/office/officeart/2005/8/layout/hierarchy1"/>
    <dgm:cxn modelId="{4FCF7B69-DA3A-594F-96D6-EBEA161EA4CA}" type="presParOf" srcId="{AC030AB0-6E33-2647-82A9-E1E9656910D0}" destId="{D0591D85-0BF2-D642-8E7D-1391C2348B0D}" srcOrd="5" destOrd="0" presId="urn:microsoft.com/office/officeart/2005/8/layout/hierarchy1"/>
    <dgm:cxn modelId="{AA0A15BC-C0BC-7D4E-A60F-49BEDDE75483}" type="presParOf" srcId="{D0591D85-0BF2-D642-8E7D-1391C2348B0D}" destId="{BE8D5052-25E6-3645-A729-9C682DE6220E}" srcOrd="0" destOrd="0" presId="urn:microsoft.com/office/officeart/2005/8/layout/hierarchy1"/>
    <dgm:cxn modelId="{2DC67C82-7EBA-F347-A71E-62339FE1E62D}" type="presParOf" srcId="{BE8D5052-25E6-3645-A729-9C682DE6220E}" destId="{0B0CFA93-AB6E-A549-8B39-0497E7B66B7A}" srcOrd="0" destOrd="0" presId="urn:microsoft.com/office/officeart/2005/8/layout/hierarchy1"/>
    <dgm:cxn modelId="{72E110A7-8E43-4741-8672-234E6464589D}" type="presParOf" srcId="{BE8D5052-25E6-3645-A729-9C682DE6220E}" destId="{189F4680-0245-D24E-AD7F-1A6D1E19F15B}" srcOrd="1" destOrd="0" presId="urn:microsoft.com/office/officeart/2005/8/layout/hierarchy1"/>
    <dgm:cxn modelId="{6B2E015B-5FE9-4740-8C4D-DC96A52333A9}" type="presParOf" srcId="{D0591D85-0BF2-D642-8E7D-1391C2348B0D}" destId="{2E57B33B-5AFE-A946-A9C2-62718B096709}" srcOrd="1" destOrd="0" presId="urn:microsoft.com/office/officeart/2005/8/layout/hierarchy1"/>
    <dgm:cxn modelId="{2960778E-3305-C044-9088-F35AC81AC185}" type="presParOf" srcId="{B3D86A8B-8313-C24F-A610-8223290EA6CF}" destId="{18DBAFF7-8E5C-C54F-86C7-9EE46E234E7F}" srcOrd="2" destOrd="0" presId="urn:microsoft.com/office/officeart/2005/8/layout/hierarchy1"/>
    <dgm:cxn modelId="{429035FB-9D09-2348-835F-032093E3374B}" type="presParOf" srcId="{B3D86A8B-8313-C24F-A610-8223290EA6CF}" destId="{5455EF30-3DEC-3B44-92A9-4C9C12ED7571}" srcOrd="3" destOrd="0" presId="urn:microsoft.com/office/officeart/2005/8/layout/hierarchy1"/>
    <dgm:cxn modelId="{A014E4D0-8E6B-9541-AD81-1D46640A05EF}" type="presParOf" srcId="{5455EF30-3DEC-3B44-92A9-4C9C12ED7571}" destId="{353763B1-4D60-9843-B17F-D30FE4E68087}" srcOrd="0" destOrd="0" presId="urn:microsoft.com/office/officeart/2005/8/layout/hierarchy1"/>
    <dgm:cxn modelId="{B79B5357-A767-9545-AD9E-7FCC03D10089}" type="presParOf" srcId="{353763B1-4D60-9843-B17F-D30FE4E68087}" destId="{DAC3EB60-3F7E-D246-B54C-EFD2ACFC99FE}" srcOrd="0" destOrd="0" presId="urn:microsoft.com/office/officeart/2005/8/layout/hierarchy1"/>
    <dgm:cxn modelId="{DCF5D106-FB0A-8B42-805F-7E7D7EA4AEBF}" type="presParOf" srcId="{353763B1-4D60-9843-B17F-D30FE4E68087}" destId="{9E63F1C2-89C0-AB42-A18A-4FBF7FA8A83F}" srcOrd="1" destOrd="0" presId="urn:microsoft.com/office/officeart/2005/8/layout/hierarchy1"/>
    <dgm:cxn modelId="{6ABC68EF-36BE-4449-9F08-7DA5DA57D46B}" type="presParOf" srcId="{5455EF30-3DEC-3B44-92A9-4C9C12ED7571}" destId="{3B2C622F-2A4F-4E48-BB5C-CCB1DBDE84DD}" srcOrd="1" destOrd="0" presId="urn:microsoft.com/office/officeart/2005/8/layout/hierarchy1"/>
    <dgm:cxn modelId="{DC60F6D1-E281-E54B-9C9F-FB240AC0B546}" type="presParOf" srcId="{3B2C622F-2A4F-4E48-BB5C-CCB1DBDE84DD}" destId="{C5755DAA-87A3-6D41-B439-993F294A1FE4}" srcOrd="0" destOrd="0" presId="urn:microsoft.com/office/officeart/2005/8/layout/hierarchy1"/>
    <dgm:cxn modelId="{9A9DCA8C-F297-A04F-8AA1-109D68E4366E}" type="presParOf" srcId="{3B2C622F-2A4F-4E48-BB5C-CCB1DBDE84DD}" destId="{BFC74812-B903-7544-A115-A44B4B8D4406}" srcOrd="1" destOrd="0" presId="urn:microsoft.com/office/officeart/2005/8/layout/hierarchy1"/>
    <dgm:cxn modelId="{7BB46B3E-A9D6-024C-8949-DD735EA5DB27}" type="presParOf" srcId="{BFC74812-B903-7544-A115-A44B4B8D4406}" destId="{A687C1AC-57CA-414E-B08E-E4F89F06E9AF}" srcOrd="0" destOrd="0" presId="urn:microsoft.com/office/officeart/2005/8/layout/hierarchy1"/>
    <dgm:cxn modelId="{5F4845E6-87C4-0348-BB19-BBFC86CDB45F}" type="presParOf" srcId="{A687C1AC-57CA-414E-B08E-E4F89F06E9AF}" destId="{FB1EF35A-6C27-EA4A-A7B2-02AF833C7B16}" srcOrd="0" destOrd="0" presId="urn:microsoft.com/office/officeart/2005/8/layout/hierarchy1"/>
    <dgm:cxn modelId="{9A56A982-A0E2-9E41-A222-A29787DD3589}" type="presParOf" srcId="{A687C1AC-57CA-414E-B08E-E4F89F06E9AF}" destId="{C2C83EA4-64D8-0E4E-AB5E-1C75AB7CFFAC}" srcOrd="1" destOrd="0" presId="urn:microsoft.com/office/officeart/2005/8/layout/hierarchy1"/>
    <dgm:cxn modelId="{2E6F3780-2F1C-FA4D-AD8A-3DFE5C908315}" type="presParOf" srcId="{BFC74812-B903-7544-A115-A44B4B8D4406}" destId="{279BB149-6F5A-654C-9F53-2F255B6D80A9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755DAA-87A3-6D41-B439-993F294A1FE4}">
      <dsp:nvSpPr>
        <dsp:cNvPr id="0" name=""/>
        <dsp:cNvSpPr/>
      </dsp:nvSpPr>
      <dsp:spPr>
        <a:xfrm>
          <a:off x="5323114" y="2955123"/>
          <a:ext cx="91440" cy="37461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74618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DBAFF7-8E5C-C54F-86C7-9EE46E234E7F}">
      <dsp:nvSpPr>
        <dsp:cNvPr id="0" name=""/>
        <dsp:cNvSpPr/>
      </dsp:nvSpPr>
      <dsp:spPr>
        <a:xfrm>
          <a:off x="3794505" y="1762569"/>
          <a:ext cx="1574328" cy="3746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5291"/>
              </a:lnTo>
              <a:lnTo>
                <a:pt x="1574328" y="255291"/>
              </a:lnTo>
              <a:lnTo>
                <a:pt x="1574328" y="374618"/>
              </a:lnTo>
            </a:path>
          </a:pathLst>
        </a:cu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8D7742-DA45-A841-9DD1-4389C85F1815}">
      <dsp:nvSpPr>
        <dsp:cNvPr id="0" name=""/>
        <dsp:cNvSpPr/>
      </dsp:nvSpPr>
      <dsp:spPr>
        <a:xfrm>
          <a:off x="2220176" y="2955123"/>
          <a:ext cx="1574328" cy="3746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5291"/>
              </a:lnTo>
              <a:lnTo>
                <a:pt x="1574328" y="255291"/>
              </a:lnTo>
              <a:lnTo>
                <a:pt x="1574328" y="374618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390C05-B806-0841-B5F4-C5CF1492B498}">
      <dsp:nvSpPr>
        <dsp:cNvPr id="0" name=""/>
        <dsp:cNvSpPr/>
      </dsp:nvSpPr>
      <dsp:spPr>
        <a:xfrm>
          <a:off x="2174456" y="2955123"/>
          <a:ext cx="91440" cy="37461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74618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10F6CE-37E3-AF4F-A3E8-67AD5844BCE5}">
      <dsp:nvSpPr>
        <dsp:cNvPr id="0" name=""/>
        <dsp:cNvSpPr/>
      </dsp:nvSpPr>
      <dsp:spPr>
        <a:xfrm>
          <a:off x="645847" y="2955123"/>
          <a:ext cx="1574328" cy="374618"/>
        </a:xfrm>
        <a:custGeom>
          <a:avLst/>
          <a:gdLst/>
          <a:ahLst/>
          <a:cxnLst/>
          <a:rect l="0" t="0" r="0" b="0"/>
          <a:pathLst>
            <a:path>
              <a:moveTo>
                <a:pt x="1574328" y="0"/>
              </a:moveTo>
              <a:lnTo>
                <a:pt x="1574328" y="255291"/>
              </a:lnTo>
              <a:lnTo>
                <a:pt x="0" y="255291"/>
              </a:lnTo>
              <a:lnTo>
                <a:pt x="0" y="374618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331CFF-FDC0-F942-89F4-C86C2E160997}">
      <dsp:nvSpPr>
        <dsp:cNvPr id="0" name=""/>
        <dsp:cNvSpPr/>
      </dsp:nvSpPr>
      <dsp:spPr>
        <a:xfrm>
          <a:off x="2220176" y="1762569"/>
          <a:ext cx="1574328" cy="374618"/>
        </a:xfrm>
        <a:custGeom>
          <a:avLst/>
          <a:gdLst/>
          <a:ahLst/>
          <a:cxnLst/>
          <a:rect l="0" t="0" r="0" b="0"/>
          <a:pathLst>
            <a:path>
              <a:moveTo>
                <a:pt x="1574328" y="0"/>
              </a:moveTo>
              <a:lnTo>
                <a:pt x="1574328" y="255291"/>
              </a:lnTo>
              <a:lnTo>
                <a:pt x="0" y="255291"/>
              </a:lnTo>
              <a:lnTo>
                <a:pt x="0" y="374618"/>
              </a:lnTo>
            </a:path>
          </a:pathLst>
        </a:cu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FA9B56F-DC3B-3A4E-A661-9E165070E271}">
      <dsp:nvSpPr>
        <dsp:cNvPr id="0" name=""/>
        <dsp:cNvSpPr/>
      </dsp:nvSpPr>
      <dsp:spPr>
        <a:xfrm>
          <a:off x="3150461" y="944634"/>
          <a:ext cx="1288087" cy="8179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C1DD98-C02B-2042-AEE7-A0797F0E4129}">
      <dsp:nvSpPr>
        <dsp:cNvPr id="0" name=""/>
        <dsp:cNvSpPr/>
      </dsp:nvSpPr>
      <dsp:spPr>
        <a:xfrm>
          <a:off x="3293582" y="1080599"/>
          <a:ext cx="1288087" cy="817935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Strategia Identità Digitale</a:t>
          </a:r>
        </a:p>
      </dsp:txBody>
      <dsp:txXfrm>
        <a:off x="3317538" y="1104555"/>
        <a:ext cx="1240175" cy="770023"/>
      </dsp:txXfrm>
    </dsp:sp>
    <dsp:sp modelId="{0ACAB87E-A62F-EF4F-93FD-6EAC5DDF456E}">
      <dsp:nvSpPr>
        <dsp:cNvPr id="0" name=""/>
        <dsp:cNvSpPr/>
      </dsp:nvSpPr>
      <dsp:spPr>
        <a:xfrm>
          <a:off x="1576132" y="2137188"/>
          <a:ext cx="1288087" cy="8179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1C5B29-A1F1-1D41-9345-1FC52493A6B3}">
      <dsp:nvSpPr>
        <dsp:cNvPr id="0" name=""/>
        <dsp:cNvSpPr/>
      </dsp:nvSpPr>
      <dsp:spPr>
        <a:xfrm>
          <a:off x="1719253" y="2273153"/>
          <a:ext cx="1288087" cy="817935"/>
        </a:xfrm>
        <a:prstGeom prst="roundRect">
          <a:avLst>
            <a:gd name="adj" fmla="val 10000"/>
          </a:avLst>
        </a:prstGeom>
        <a:solidFill>
          <a:schemeClr val="accent1">
            <a:lumMod val="90000"/>
            <a:alpha val="9000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dirty="0">
              <a:solidFill>
                <a:schemeClr val="bg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Sella</a:t>
          </a:r>
        </a:p>
      </dsp:txBody>
      <dsp:txXfrm>
        <a:off x="1743209" y="2297109"/>
        <a:ext cx="1240175" cy="770023"/>
      </dsp:txXfrm>
    </dsp:sp>
    <dsp:sp modelId="{83EFDD1D-0DD5-8B4C-BDA9-04B3346A49B6}">
      <dsp:nvSpPr>
        <dsp:cNvPr id="0" name=""/>
        <dsp:cNvSpPr/>
      </dsp:nvSpPr>
      <dsp:spPr>
        <a:xfrm>
          <a:off x="1804" y="3329742"/>
          <a:ext cx="1288087" cy="8179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23F8D5-87E0-8C47-8C70-91AB2A3D2F1E}">
      <dsp:nvSpPr>
        <dsp:cNvPr id="0" name=""/>
        <dsp:cNvSpPr/>
      </dsp:nvSpPr>
      <dsp:spPr>
        <a:xfrm>
          <a:off x="144924" y="3465707"/>
          <a:ext cx="1288087" cy="817935"/>
        </a:xfrm>
        <a:prstGeom prst="roundRect">
          <a:avLst>
            <a:gd name="adj" fmla="val 10000"/>
          </a:avLst>
        </a:prstGeom>
        <a:solidFill>
          <a:schemeClr val="accent1">
            <a:lumMod val="90000"/>
            <a:alpha val="9000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kern="1200" dirty="0">
              <a:solidFill>
                <a:schemeClr val="bg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Piattaforme Interne</a:t>
          </a:r>
        </a:p>
      </dsp:txBody>
      <dsp:txXfrm>
        <a:off x="168880" y="3489663"/>
        <a:ext cx="1240175" cy="770023"/>
      </dsp:txXfrm>
    </dsp:sp>
    <dsp:sp modelId="{A5061F09-0A1A-2841-9D5C-1FC9B3A6BDE2}">
      <dsp:nvSpPr>
        <dsp:cNvPr id="0" name=""/>
        <dsp:cNvSpPr/>
      </dsp:nvSpPr>
      <dsp:spPr>
        <a:xfrm>
          <a:off x="1576132" y="3329742"/>
          <a:ext cx="1288087" cy="8179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E8FA9D-21D6-E84A-AA35-64C4F4C4F3B8}">
      <dsp:nvSpPr>
        <dsp:cNvPr id="0" name=""/>
        <dsp:cNvSpPr/>
      </dsp:nvSpPr>
      <dsp:spPr>
        <a:xfrm>
          <a:off x="1719253" y="3465707"/>
          <a:ext cx="1288087" cy="817935"/>
        </a:xfrm>
        <a:prstGeom prst="roundRect">
          <a:avLst>
            <a:gd name="adj" fmla="val 10000"/>
          </a:avLst>
        </a:prstGeom>
        <a:solidFill>
          <a:schemeClr val="accent1">
            <a:lumMod val="90000"/>
            <a:alpha val="9000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kern="1200" dirty="0">
              <a:solidFill>
                <a:schemeClr val="bg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Collaborazione con altri prodotti e team</a:t>
          </a:r>
        </a:p>
      </dsp:txBody>
      <dsp:txXfrm>
        <a:off x="1743209" y="3489663"/>
        <a:ext cx="1240175" cy="770023"/>
      </dsp:txXfrm>
    </dsp:sp>
    <dsp:sp modelId="{0B0CFA93-AB6E-A549-8B39-0497E7B66B7A}">
      <dsp:nvSpPr>
        <dsp:cNvPr id="0" name=""/>
        <dsp:cNvSpPr/>
      </dsp:nvSpPr>
      <dsp:spPr>
        <a:xfrm>
          <a:off x="3150461" y="3329742"/>
          <a:ext cx="1288087" cy="8179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9F4680-0245-D24E-AD7F-1A6D1E19F15B}">
      <dsp:nvSpPr>
        <dsp:cNvPr id="0" name=""/>
        <dsp:cNvSpPr/>
      </dsp:nvSpPr>
      <dsp:spPr>
        <a:xfrm>
          <a:off x="3293582" y="3465707"/>
          <a:ext cx="1288087" cy="817935"/>
        </a:xfrm>
        <a:prstGeom prst="roundRect">
          <a:avLst>
            <a:gd name="adj" fmla="val 10000"/>
          </a:avLst>
        </a:prstGeom>
        <a:solidFill>
          <a:schemeClr val="accent1">
            <a:lumMod val="90000"/>
            <a:alpha val="9000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kern="1200" dirty="0">
              <a:solidFill>
                <a:schemeClr val="bg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Formazione</a:t>
          </a:r>
        </a:p>
      </dsp:txBody>
      <dsp:txXfrm>
        <a:off x="3317538" y="3489663"/>
        <a:ext cx="1240175" cy="770023"/>
      </dsp:txXfrm>
    </dsp:sp>
    <dsp:sp modelId="{DAC3EB60-3F7E-D246-B54C-EFD2ACFC99FE}">
      <dsp:nvSpPr>
        <dsp:cNvPr id="0" name=""/>
        <dsp:cNvSpPr/>
      </dsp:nvSpPr>
      <dsp:spPr>
        <a:xfrm>
          <a:off x="4724790" y="2137188"/>
          <a:ext cx="1288087" cy="8179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63F1C2-89C0-AB42-A18A-4FBF7FA8A83F}">
      <dsp:nvSpPr>
        <dsp:cNvPr id="0" name=""/>
        <dsp:cNvSpPr/>
      </dsp:nvSpPr>
      <dsp:spPr>
        <a:xfrm>
          <a:off x="4867911" y="2273153"/>
          <a:ext cx="1288087" cy="81793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Focus Esterno</a:t>
          </a:r>
        </a:p>
      </dsp:txBody>
      <dsp:txXfrm>
        <a:off x="4891867" y="2297109"/>
        <a:ext cx="1240175" cy="770023"/>
      </dsp:txXfrm>
    </dsp:sp>
    <dsp:sp modelId="{FB1EF35A-6C27-EA4A-A7B2-02AF833C7B16}">
      <dsp:nvSpPr>
        <dsp:cNvPr id="0" name=""/>
        <dsp:cNvSpPr/>
      </dsp:nvSpPr>
      <dsp:spPr>
        <a:xfrm>
          <a:off x="4724790" y="3329742"/>
          <a:ext cx="1288087" cy="8179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C83EA4-64D8-0E4E-AB5E-1C75AB7CFFAC}">
      <dsp:nvSpPr>
        <dsp:cNvPr id="0" name=""/>
        <dsp:cNvSpPr/>
      </dsp:nvSpPr>
      <dsp:spPr>
        <a:xfrm>
          <a:off x="4867911" y="3465707"/>
          <a:ext cx="1288087" cy="81793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kern="1200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rPr>
            <a:t>Large Scale Pilot</a:t>
          </a:r>
        </a:p>
      </dsp:txBody>
      <dsp:txXfrm>
        <a:off x="4891867" y="3489663"/>
        <a:ext cx="1240175" cy="7700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68251F-FE57-47F2-9DAA-62719D1FCA19}" type="datetimeFigureOut">
              <a:t>27/04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2AA58F-DAC7-45F2-8AC2-1A591003A644}" type="slidenum"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875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1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5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resentazion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8774319-A9C1-9D45-8C42-6DB288A803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1444" y="1642532"/>
            <a:ext cx="6995556" cy="259561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it-IT"/>
              <a:t>Titolo Presentazione</a:t>
            </a:r>
          </a:p>
        </p:txBody>
      </p:sp>
      <p:sp>
        <p:nvSpPr>
          <p:cNvPr id="7" name="Segnaposto testo 3">
            <a:extLst>
              <a:ext uri="{FF2B5EF4-FFF2-40B4-BE49-F238E27FC236}">
                <a16:creationId xmlns:a16="http://schemas.microsoft.com/office/drawing/2014/main" id="{5700410D-1E44-4645-9A39-5484229C8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973667"/>
            <a:ext cx="6995556" cy="506490"/>
          </a:xfrm>
        </p:spPr>
        <p:txBody>
          <a:bodyPr anchor="b" anchorCtr="0"/>
          <a:lstStyle>
            <a:lvl1pPr algn="l">
              <a:defRPr sz="1600">
                <a:solidFill>
                  <a:schemeClr val="bg1"/>
                </a:solidFill>
              </a:defRPr>
            </a:lvl1pPr>
            <a:lvl2pPr algn="l">
              <a:defRPr sz="1600">
                <a:solidFill>
                  <a:schemeClr val="bg1"/>
                </a:solidFill>
              </a:defRPr>
            </a:lvl2pPr>
            <a:lvl3pPr algn="l">
              <a:defRPr sz="1600">
                <a:solidFill>
                  <a:schemeClr val="bg1"/>
                </a:solidFill>
              </a:defRPr>
            </a:lvl3pPr>
            <a:lvl4pPr marL="0" indent="0" algn="l"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5pPr>
            <a:lvl6pPr algn="l">
              <a:defRPr sz="1600" b="0">
                <a:solidFill>
                  <a:schemeClr val="bg1"/>
                </a:solidFill>
              </a:defRPr>
            </a:lvl6pPr>
            <a:lvl7pPr marL="0" indent="0" algn="l">
              <a:defRPr sz="1600">
                <a:solidFill>
                  <a:schemeClr val="bg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8pPr>
            <a:lvl9pPr algn="l"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3E9F8569-52C1-514B-9618-173BE13EE9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1444" y="4428822"/>
            <a:ext cx="6995556" cy="506490"/>
          </a:xfrm>
        </p:spPr>
        <p:txBody>
          <a:bodyPr anchor="t" anchorCtr="0"/>
          <a:lstStyle>
            <a:lvl1pPr algn="l">
              <a:defRPr sz="2000">
                <a:solidFill>
                  <a:srgbClr val="00FFE0"/>
                </a:solidFill>
              </a:defRPr>
            </a:lvl1pPr>
            <a:lvl2pPr algn="l">
              <a:defRPr sz="2000" b="0">
                <a:solidFill>
                  <a:schemeClr val="bg1"/>
                </a:solidFill>
              </a:defRPr>
            </a:lvl2pPr>
            <a:lvl3pPr algn="l">
              <a:defRPr sz="2000" b="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Clr>
                <a:schemeClr val="bg1"/>
              </a:buClr>
              <a:buNone/>
              <a:defRPr sz="2000">
                <a:solidFill>
                  <a:schemeClr val="bg1"/>
                </a:solidFill>
              </a:defRPr>
            </a:lvl5pPr>
            <a:lvl6pPr algn="l">
              <a:defRPr sz="2000" b="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2000">
                <a:solidFill>
                  <a:schemeClr val="bg1"/>
                </a:solidFill>
              </a:defRPr>
            </a:lvl8pPr>
            <a:lvl9pPr algn="l"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77B198F-4AEF-1A44-83BA-A14FA515CC8B}"/>
              </a:ext>
            </a:extLst>
          </p:cNvPr>
          <p:cNvSpPr txBox="1"/>
          <p:nvPr/>
        </p:nvSpPr>
        <p:spPr>
          <a:xfrm>
            <a:off x="8682273" y="110452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it-IT" sz="1200">
              <a:solidFill>
                <a:srgbClr val="555555"/>
              </a:solidFill>
            </a:endParaRPr>
          </a:p>
        </p:txBody>
      </p:sp>
      <p:pic>
        <p:nvPicPr>
          <p:cNvPr id="9" name="Immagine 11">
            <a:extLst>
              <a:ext uri="{FF2B5EF4-FFF2-40B4-BE49-F238E27FC236}">
                <a16:creationId xmlns:a16="http://schemas.microsoft.com/office/drawing/2014/main" id="{6667B4D7-ABBF-4225-90A1-BF896DF2AB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36038" y="6288512"/>
            <a:ext cx="885703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45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magine con Didascalia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immagine 9">
            <a:extLst>
              <a:ext uri="{FF2B5EF4-FFF2-40B4-BE49-F238E27FC236}">
                <a16:creationId xmlns:a16="http://schemas.microsoft.com/office/drawing/2014/main" id="{9AF8AD17-5B84-F64D-A01A-F60B166270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962400" y="0"/>
            <a:ext cx="8229600" cy="6858000"/>
          </a:xfrm>
          <a:solidFill>
            <a:schemeClr val="tx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Inserisci qua la tua immagine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B0D3203E-FD18-9640-B396-96D72EF9BA06}"/>
              </a:ext>
            </a:extLst>
          </p:cNvPr>
          <p:cNvSpPr/>
          <p:nvPr userDrawn="1"/>
        </p:nvSpPr>
        <p:spPr>
          <a:xfrm>
            <a:off x="0" y="0"/>
            <a:ext cx="3962400" cy="68580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Segnaposto piè di pagina 5">
            <a:extLst>
              <a:ext uri="{FF2B5EF4-FFF2-40B4-BE49-F238E27FC236}">
                <a16:creationId xmlns:a16="http://schemas.microsoft.com/office/drawing/2014/main" id="{A3B4FAAB-2F51-D940-91AD-BF7CB32B6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8" name="Segnaposto numero diapositiva 6">
            <a:extLst>
              <a:ext uri="{FF2B5EF4-FFF2-40B4-BE49-F238E27FC236}">
                <a16:creationId xmlns:a16="http://schemas.microsoft.com/office/drawing/2014/main" id="{619162CF-2A40-A247-A762-B3A6CDDD8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234D851-E782-E645-AC68-D22059B1F5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736653"/>
            <a:ext cx="2942110" cy="5051499"/>
          </a:xfrm>
        </p:spPr>
        <p:txBody>
          <a:bodyPr/>
          <a:lstStyle>
            <a:lvl1pPr>
              <a:lnSpc>
                <a:spcPct val="120000"/>
              </a:lnSpc>
              <a:defRPr sz="1600"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 sz="1600">
                <a:solidFill>
                  <a:schemeClr val="accent3">
                    <a:lumMod val="40000"/>
                    <a:lumOff val="60000"/>
                  </a:schemeClr>
                </a:solidFill>
              </a:defRPr>
            </a:lvl2pPr>
            <a:lvl3pPr>
              <a:lnSpc>
                <a:spcPct val="120000"/>
              </a:lnSpc>
              <a:spcAft>
                <a:spcPts val="1200"/>
              </a:spcAft>
              <a:defRPr sz="16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4pPr>
            <a:lvl5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5pPr>
            <a:lvl6pPr>
              <a:lnSpc>
                <a:spcPct val="120000"/>
              </a:lnSpc>
              <a:defRPr sz="1600">
                <a:solidFill>
                  <a:schemeClr val="bg1"/>
                </a:solidFill>
              </a:defRPr>
            </a:lvl6pPr>
            <a:lvl7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7pPr>
            <a:lvl8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8pPr>
            <a:lvl9pPr>
              <a:lnSpc>
                <a:spcPct val="120000"/>
              </a:lnSpc>
              <a:defRPr sz="1600">
                <a:solidFill>
                  <a:schemeClr val="bg2">
                    <a:lumMod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9" name="Immagine 11">
            <a:extLst>
              <a:ext uri="{FF2B5EF4-FFF2-40B4-BE49-F238E27FC236}">
                <a16:creationId xmlns:a16="http://schemas.microsoft.com/office/drawing/2014/main" id="{79B1E941-1C38-4E25-AF6F-4B711E28B87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36038" y="6288512"/>
            <a:ext cx="885703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9024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udget 20-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48" y="668503"/>
            <a:ext cx="8280750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CF9ED853-8672-294E-94C3-1290BCB1EA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71836" y="6225525"/>
            <a:ext cx="878400" cy="506243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30658" y="107558"/>
            <a:ext cx="8263084" cy="506490"/>
          </a:xfrm>
        </p:spPr>
        <p:txBody>
          <a:bodyPr/>
          <a:lstStyle>
            <a:lvl1pPr>
              <a:defRPr sz="1400" b="1"/>
            </a:lvl1pPr>
          </a:lstStyle>
          <a:p>
            <a:r>
              <a:rPr lang="it-IT"/>
              <a:t>Budget Triennale 2020-2022</a:t>
            </a:r>
          </a:p>
        </p:txBody>
      </p:sp>
      <p:sp>
        <p:nvSpPr>
          <p:cNvPr id="11" name="Text Box 20"/>
          <p:cNvSpPr txBox="1">
            <a:spLocks noChangeArrowheads="1"/>
          </p:cNvSpPr>
          <p:nvPr userDrawn="1"/>
        </p:nvSpPr>
        <p:spPr bwMode="auto">
          <a:xfrm>
            <a:off x="191231" y="6374992"/>
            <a:ext cx="7858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0" fontAlgn="base">
              <a:spcBef>
                <a:spcPct val="0"/>
              </a:spcBef>
              <a:spcAft>
                <a:spcPct val="0"/>
              </a:spcAft>
              <a:defRPr/>
            </a:pPr>
            <a:fld id="{D31CC4E6-BD8E-492D-9E0B-BDFB7819D091}" type="slidenum">
              <a:rPr lang="it-IT" altLang="it-IT" sz="1200" kern="1200" smtClean="0">
                <a:solidFill>
                  <a:srgbClr val="0033CC"/>
                </a:solidFill>
                <a:latin typeface="Century Gothic" pitchFamily="34" charset="0"/>
                <a:ea typeface="+mn-ea"/>
              </a:rPr>
              <a:pPr algn="ctr"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altLang="it-IT" sz="1200" kern="1200">
              <a:solidFill>
                <a:srgbClr val="0033CC"/>
              </a:solidFill>
              <a:latin typeface="Century Gothic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705341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uota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5">
            <a:extLst>
              <a:ext uri="{FF2B5EF4-FFF2-40B4-BE49-F238E27FC236}">
                <a16:creationId xmlns:a16="http://schemas.microsoft.com/office/drawing/2014/main" id="{DE7AFA3C-7EAC-4E4F-81AD-9724B0288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endParaRPr lang="it-IT">
              <a:solidFill>
                <a:srgbClr val="555555">
                  <a:tint val="75000"/>
                </a:srgbClr>
              </a:solidFill>
            </a:endParaRPr>
          </a:p>
        </p:txBody>
      </p:sp>
      <p:sp>
        <p:nvSpPr>
          <p:cNvPr id="8" name="Segnaposto numero diapositiva 6">
            <a:extLst>
              <a:ext uri="{FF2B5EF4-FFF2-40B4-BE49-F238E27FC236}">
                <a16:creationId xmlns:a16="http://schemas.microsoft.com/office/drawing/2014/main" id="{B6FA95BD-C53B-5547-986F-60D29C4B6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/>
          <a:p>
            <a:fld id="{EDAA79C4-06C3-BD44-B9A6-7F4B8B549F79}" type="slidenum">
              <a:rPr lang="it-IT" smtClean="0">
                <a:solidFill>
                  <a:srgbClr val="555555">
                    <a:tint val="75000"/>
                  </a:srgbClr>
                </a:solidFill>
              </a:rPr>
              <a:pPr/>
              <a:t>‹N›</a:t>
            </a:fld>
            <a:endParaRPr lang="it-IT">
              <a:solidFill>
                <a:srgbClr val="555555">
                  <a:tint val="75000"/>
                </a:srgbClr>
              </a:solidFill>
            </a:endParaRPr>
          </a:p>
        </p:txBody>
      </p:sp>
      <p:pic>
        <p:nvPicPr>
          <p:cNvPr id="7" name="Immagine 9">
            <a:extLst>
              <a:ext uri="{FF2B5EF4-FFF2-40B4-BE49-F238E27FC236}">
                <a16:creationId xmlns:a16="http://schemas.microsoft.com/office/drawing/2014/main" id="{53BFC504-B2BE-4210-8EC9-BD1530ECCA4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83142" y="6277879"/>
            <a:ext cx="877246" cy="30903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0E343B-AD35-451C-A832-3603F8D3A851}"/>
              </a:ext>
            </a:extLst>
          </p:cNvPr>
          <p:cNvSpPr/>
          <p:nvPr userDrawn="1"/>
        </p:nvSpPr>
        <p:spPr>
          <a:xfrm>
            <a:off x="10254296" y="57703"/>
            <a:ext cx="1947972" cy="6094533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it-IT" sz="1600" b="1">
              <a:solidFill>
                <a:srgbClr val="002060"/>
              </a:solidFill>
              <a:latin typeface="Sella Bold" panose="02000503040000020004" pitchFamily="50" charset="0"/>
              <a:ea typeface="Sella Bold" panose="02000503040000020004" pitchFamily="50" charset="0"/>
              <a:cs typeface="Sella Bold" panose="02000503040000020004" pitchFamily="50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036723-A992-4CDD-9AAB-8E3C0EC261E2}"/>
              </a:ext>
            </a:extLst>
          </p:cNvPr>
          <p:cNvSpPr/>
          <p:nvPr userDrawn="1"/>
        </p:nvSpPr>
        <p:spPr>
          <a:xfrm>
            <a:off x="-1360" y="57704"/>
            <a:ext cx="10255656" cy="6800295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it-IT" sz="1600" b="1">
              <a:solidFill>
                <a:srgbClr val="002060"/>
              </a:solidFill>
              <a:latin typeface="Sella Bold" panose="02000503040000020004" pitchFamily="50" charset="0"/>
              <a:ea typeface="Sella Bold" panose="02000503040000020004" pitchFamily="50" charset="0"/>
              <a:cs typeface="Sella Bold" panose="0200050304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46836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Capitolo Bl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01DB3EAC-8E1F-5645-A42C-B99841D30D9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2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600">
                <a:solidFill>
                  <a:schemeClr val="bg1"/>
                </a:solidFill>
              </a:defRPr>
            </a:lvl1pPr>
            <a:lvl2pPr algn="ctr">
              <a:defRPr sz="1600" b="0">
                <a:solidFill>
                  <a:schemeClr val="bg1"/>
                </a:solidFill>
              </a:defRPr>
            </a:lvl2pPr>
            <a:lvl3pPr algn="ctr">
              <a:defRPr sz="1600" b="0">
                <a:solidFill>
                  <a:schemeClr val="bg1"/>
                </a:solidFill>
              </a:defRPr>
            </a:lvl3pPr>
            <a:lvl4pPr marL="0" indent="0" algn="ctr">
              <a:buNone/>
              <a:defRPr sz="16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5pPr>
            <a:lvl6pPr algn="ctr">
              <a:defRPr sz="1600" b="0">
                <a:solidFill>
                  <a:schemeClr val="bg1"/>
                </a:solidFill>
              </a:defRPr>
            </a:lvl6pPr>
            <a:lvl7pPr marL="0" indent="0" algn="ctr">
              <a:buNone/>
              <a:defRPr sz="16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8pPr>
            <a:lvl9pPr algn="ctr"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1116789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9_Solo titol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Titolo Testo"/>
          <p:cNvSpPr txBox="1">
            <a:spLocks noGrp="1"/>
          </p:cNvSpPr>
          <p:nvPr>
            <p:ph type="title"/>
          </p:nvPr>
        </p:nvSpPr>
        <p:spPr>
          <a:xfrm>
            <a:off x="624746" y="198524"/>
            <a:ext cx="10835642" cy="9872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latin typeface="Sella Bold"/>
                <a:ea typeface="Sella Bold"/>
                <a:cs typeface="Sella Bold"/>
                <a:sym typeface="Sella Bold"/>
              </a:defRPr>
            </a:lvl1pPr>
          </a:lstStyle>
          <a:p>
            <a:r>
              <a:t>Titolo Testo</a:t>
            </a:r>
          </a:p>
        </p:txBody>
      </p:sp>
      <p:sp>
        <p:nvSpPr>
          <p:cNvPr id="244" name="Numero diapositiva"/>
          <p:cNvSpPr txBox="1">
            <a:spLocks noGrp="1"/>
          </p:cNvSpPr>
          <p:nvPr>
            <p:ph type="sldNum" sz="quarter" idx="2"/>
          </p:nvPr>
        </p:nvSpPr>
        <p:spPr>
          <a:xfrm>
            <a:off x="733777" y="6487653"/>
            <a:ext cx="127001" cy="127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16659722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12A1CD-06F8-0A40-E202-4EC002EADD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664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12A1CD-06F8-0A40-E202-4EC002EAD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3" y="1605516"/>
            <a:ext cx="10853676" cy="4359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2FCC89-87C2-E46F-1F4D-4E8F435AA7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4826" y="1130721"/>
            <a:ext cx="10782006" cy="291878"/>
          </a:xfrm>
        </p:spPr>
        <p:txBody>
          <a:bodyPr anchor="ctr"/>
          <a:lstStyle>
            <a:lvl1pPr marL="0" indent="0">
              <a:buNone/>
              <a:defRPr b="1">
                <a:solidFill>
                  <a:srgbClr val="595959"/>
                </a:solidFill>
                <a:latin typeface="+mj-lt"/>
              </a:defRPr>
            </a:lvl1pPr>
          </a:lstStyle>
          <a:p>
            <a:pPr lvl="0"/>
            <a:r>
              <a:rPr lang="en-US"/>
              <a:t>[optional subtitle]</a:t>
            </a:r>
          </a:p>
        </p:txBody>
      </p:sp>
    </p:spTree>
    <p:extLst>
      <p:ext uri="{BB962C8B-B14F-4D97-AF65-F5344CB8AC3E}">
        <p14:creationId xmlns:p14="http://schemas.microsoft.com/office/powerpoint/2010/main" val="10008945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oto contenu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757F0AA2-65B9-A2D7-CA47-01455F4D74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793885" cy="6858000"/>
          </a:xfrm>
          <a:prstGeom prst="rect">
            <a:avLst/>
          </a:prstGeom>
          <a:solidFill>
            <a:srgbClr val="FFFFFF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>
              <a:solidFill>
                <a:schemeClr val="bg1">
                  <a:alpha val="20000"/>
                </a:schemeClr>
              </a:solidFill>
            </a:endParaRPr>
          </a:p>
        </p:txBody>
      </p:sp>
      <p:sp>
        <p:nvSpPr>
          <p:cNvPr id="11" name="Segnaposto immagine 10">
            <a:extLst>
              <a:ext uri="{FF2B5EF4-FFF2-40B4-BE49-F238E27FC236}">
                <a16:creationId xmlns:a16="http://schemas.microsoft.com/office/drawing/2014/main" id="{7F8EA658-2652-6F81-1B04-D50C60A3F17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7899" y="255814"/>
            <a:ext cx="4278085" cy="6346371"/>
          </a:xfrm>
          <a:blipFill>
            <a:blip r:embed="rId2">
              <a:alphaModFix amt="60000"/>
            </a:blip>
            <a:stretch>
              <a:fillRect/>
            </a:stretch>
          </a:blipFill>
        </p:spPr>
        <p:txBody>
          <a:bodyPr rtlCol="0"/>
          <a:lstStyle/>
          <a:p>
            <a:pPr rtl="0"/>
            <a:r>
              <a:rPr lang="it"/>
              <a:t>Fare clic sull'icona per inserire un'immagine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1350E950-B4F0-1528-7801-D62516B25059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251084" y="6355080"/>
            <a:ext cx="1350437" cy="457200"/>
          </a:xfrm>
        </p:spPr>
        <p:txBody>
          <a:bodyPr rtlCol="0"/>
          <a:lstStyle/>
          <a:p>
            <a:pPr rtl="0"/>
            <a:r>
              <a:rPr lang="it"/>
              <a:t>20XX</a:t>
            </a:r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F4542BAC-2F9D-47B8-7DD9-6A4CA38FF15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721846" y="6355080"/>
            <a:ext cx="3561439" cy="457200"/>
          </a:xfrm>
        </p:spPr>
        <p:txBody>
          <a:bodyPr rtlCol="0"/>
          <a:lstStyle/>
          <a:p>
            <a:pPr rtl="0"/>
            <a:r>
              <a:rPr lang="it"/>
              <a:t>Esempio testo a piè di pagina</a:t>
            </a:r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64E0DAA-9A85-8007-5B0C-C63F8ECF6F4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919011" y="6355080"/>
            <a:ext cx="746807" cy="457200"/>
          </a:xfrm>
        </p:spPr>
        <p:txBody>
          <a:bodyPr rtlCol="0"/>
          <a:lstStyle/>
          <a:p>
            <a:pPr rtl="0"/>
            <a:fld id="{CC057153-B650-4DEB-B370-79DDCFDCE934}" type="slidenum">
              <a:rPr lang="en-US" smtClean="0"/>
              <a:pPr rtl="0"/>
              <a:t>‹N›</a:t>
            </a:fld>
            <a:endParaRPr lang="en-US"/>
          </a:p>
        </p:txBody>
      </p:sp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818B74D6-CD72-B859-C229-60DB988B25E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03520" y="1618488"/>
            <a:ext cx="6400800" cy="4480560"/>
          </a:xfrm>
        </p:spPr>
        <p:txBody>
          <a:bodyPr rtlCol="0"/>
          <a:lstStyle/>
          <a:p>
            <a:pPr lvl="0" rtl="0"/>
            <a:r>
              <a:rPr lang="it"/>
              <a:t>Fare clic per modificare lo stile del titolo</a:t>
            </a:r>
          </a:p>
          <a:p>
            <a:pPr lvl="1" rtl="0"/>
            <a:r>
              <a:rPr lang="it"/>
              <a:t>Secondo livello</a:t>
            </a:r>
          </a:p>
          <a:p>
            <a:pPr lvl="2" rtl="0"/>
            <a:r>
              <a:rPr lang="it"/>
              <a:t>Terzo livello</a:t>
            </a:r>
          </a:p>
          <a:p>
            <a:pPr lvl="3" rtl="0"/>
            <a:r>
              <a:rPr lang="it"/>
              <a:t>Quarto livello</a:t>
            </a:r>
          </a:p>
          <a:p>
            <a:pPr lvl="4" rtl="0"/>
            <a:r>
              <a:rPr lang="it"/>
              <a:t>Quinto livello</a:t>
            </a:r>
            <a:endParaRPr lang="en-US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19" y="457200"/>
            <a:ext cx="6400800" cy="932688"/>
          </a:xfrm>
        </p:spPr>
        <p:txBody>
          <a:bodyPr rtlCol="0" anchor="b"/>
          <a:lstStyle/>
          <a:p>
            <a:pPr rtl="0"/>
            <a:r>
              <a:rPr lang="it"/>
              <a:t>Fare clic per modificare lo stile del tito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2334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resentazione">
    <p:bg>
      <p:bgPr>
        <a:gradFill flip="none" rotWithShape="1">
          <a:gsLst>
            <a:gs pos="0">
              <a:schemeClr val="accent3"/>
            </a:gs>
            <a:gs pos="50000">
              <a:schemeClr val="tx2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11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4A529BB1-F96E-474D-BBFC-7E519DD7FA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377B198F-4AEF-1A44-83BA-A14FA515CC8B}"/>
              </a:ext>
            </a:extLst>
          </p:cNvPr>
          <p:cNvSpPr txBox="1"/>
          <p:nvPr userDrawn="1"/>
        </p:nvSpPr>
        <p:spPr>
          <a:xfrm>
            <a:off x="8682273" y="110452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it-IT" sz="1200" b="1" i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37633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Presentazio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8774319-A9C1-9D45-8C42-6DB288A803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1444" y="1642532"/>
            <a:ext cx="6995556" cy="259561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it-IT"/>
              <a:t>Titolo Presentazione</a:t>
            </a:r>
          </a:p>
        </p:txBody>
      </p:sp>
      <p:sp>
        <p:nvSpPr>
          <p:cNvPr id="7" name="Segnaposto testo 3">
            <a:extLst>
              <a:ext uri="{FF2B5EF4-FFF2-40B4-BE49-F238E27FC236}">
                <a16:creationId xmlns:a16="http://schemas.microsoft.com/office/drawing/2014/main" id="{5700410D-1E44-4645-9A39-5484229C8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973667"/>
            <a:ext cx="6995556" cy="506490"/>
          </a:xfrm>
        </p:spPr>
        <p:txBody>
          <a:bodyPr anchor="b" anchorCtr="0"/>
          <a:lstStyle>
            <a:lvl1pPr algn="l">
              <a:defRPr sz="1600">
                <a:solidFill>
                  <a:schemeClr val="bg1"/>
                </a:solidFill>
              </a:defRPr>
            </a:lvl1pPr>
            <a:lvl2pPr algn="l">
              <a:defRPr sz="1600">
                <a:solidFill>
                  <a:schemeClr val="bg1"/>
                </a:solidFill>
              </a:defRPr>
            </a:lvl2pPr>
            <a:lvl3pPr algn="l">
              <a:defRPr sz="1600">
                <a:solidFill>
                  <a:schemeClr val="bg1"/>
                </a:solidFill>
              </a:defRPr>
            </a:lvl3pPr>
            <a:lvl4pPr marL="0" indent="0" algn="l"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5pPr>
            <a:lvl6pPr algn="l">
              <a:defRPr sz="1600" b="0">
                <a:solidFill>
                  <a:schemeClr val="bg1"/>
                </a:solidFill>
              </a:defRPr>
            </a:lvl6pPr>
            <a:lvl7pPr marL="0" indent="0" algn="l">
              <a:defRPr sz="1600">
                <a:solidFill>
                  <a:schemeClr val="bg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8pPr>
            <a:lvl9pPr algn="l"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3E9F8569-52C1-514B-9618-173BE13EE9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1444" y="4428822"/>
            <a:ext cx="6995556" cy="506490"/>
          </a:xfrm>
        </p:spPr>
        <p:txBody>
          <a:bodyPr anchor="t" anchorCtr="0"/>
          <a:lstStyle>
            <a:lvl1pPr algn="l">
              <a:defRPr sz="2000">
                <a:solidFill>
                  <a:schemeClr val="accent3"/>
                </a:solidFill>
              </a:defRPr>
            </a:lvl1pPr>
            <a:lvl2pPr algn="l">
              <a:defRPr sz="2000" b="0">
                <a:solidFill>
                  <a:schemeClr val="bg1"/>
                </a:solidFill>
              </a:defRPr>
            </a:lvl2pPr>
            <a:lvl3pPr algn="l">
              <a:defRPr sz="2000" b="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Clr>
                <a:schemeClr val="bg1"/>
              </a:buClr>
              <a:buNone/>
              <a:defRPr sz="2000">
                <a:solidFill>
                  <a:schemeClr val="bg1"/>
                </a:solidFill>
              </a:defRPr>
            </a:lvl5pPr>
            <a:lvl6pPr algn="l">
              <a:defRPr sz="2000" b="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2000">
                <a:solidFill>
                  <a:schemeClr val="bg1"/>
                </a:solidFill>
              </a:defRPr>
            </a:lvl8pPr>
            <a:lvl9pPr algn="l"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77B198F-4AEF-1A44-83BA-A14FA515CC8B}"/>
              </a:ext>
            </a:extLst>
          </p:cNvPr>
          <p:cNvSpPr txBox="1"/>
          <p:nvPr userDrawn="1"/>
        </p:nvSpPr>
        <p:spPr>
          <a:xfrm>
            <a:off x="8682273" y="110452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it-IT" sz="1200" b="1" i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8966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Capitolo Azzurra">
    <p:bg>
      <p:bgPr>
        <a:gradFill>
          <a:gsLst>
            <a:gs pos="0">
              <a:schemeClr val="accent5"/>
            </a:gs>
            <a:gs pos="57000">
              <a:schemeClr val="tx2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01DB3EAC-8E1F-5645-A42C-B99841D30D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2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600">
                <a:solidFill>
                  <a:schemeClr val="bg1"/>
                </a:solidFill>
              </a:defRPr>
            </a:lvl1pPr>
            <a:lvl2pPr algn="ctr">
              <a:defRPr sz="1600" b="0">
                <a:solidFill>
                  <a:schemeClr val="bg1"/>
                </a:solidFill>
              </a:defRPr>
            </a:lvl2pPr>
            <a:lvl3pPr algn="ctr">
              <a:defRPr sz="1600" b="0">
                <a:solidFill>
                  <a:schemeClr val="bg1"/>
                </a:solidFill>
              </a:defRPr>
            </a:lvl3pPr>
            <a:lvl4pPr marL="0" indent="0" algn="ctr">
              <a:buNone/>
              <a:defRPr sz="16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5pPr>
            <a:lvl6pPr algn="ctr">
              <a:defRPr sz="1600" b="0">
                <a:solidFill>
                  <a:schemeClr val="bg1"/>
                </a:solidFill>
              </a:defRPr>
            </a:lvl6pPr>
            <a:lvl7pPr marL="0" indent="0" algn="ctr">
              <a:buNone/>
              <a:defRPr sz="16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8pPr>
            <a:lvl9pPr algn="ctr"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76066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apitolo Azzurra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2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600">
                <a:solidFill>
                  <a:schemeClr val="bg1"/>
                </a:solidFill>
              </a:defRPr>
            </a:lvl1pPr>
            <a:lvl2pPr algn="ctr">
              <a:defRPr sz="1600" b="0">
                <a:solidFill>
                  <a:schemeClr val="bg1"/>
                </a:solidFill>
              </a:defRPr>
            </a:lvl2pPr>
            <a:lvl3pPr algn="ctr">
              <a:defRPr sz="1600" b="0">
                <a:solidFill>
                  <a:schemeClr val="bg1"/>
                </a:solidFill>
              </a:defRPr>
            </a:lvl3pPr>
            <a:lvl4pPr marL="0" indent="0" algn="ctr">
              <a:buNone/>
              <a:defRPr sz="16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5pPr>
            <a:lvl6pPr algn="ctr">
              <a:defRPr sz="1600" b="0">
                <a:solidFill>
                  <a:schemeClr val="bg1"/>
                </a:solidFill>
              </a:defRPr>
            </a:lvl6pPr>
            <a:lvl7pPr marL="0" indent="0" algn="ctr">
              <a:buNone/>
              <a:defRPr sz="16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8pPr>
            <a:lvl9pPr algn="ctr"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pic>
        <p:nvPicPr>
          <p:cNvPr id="6" name="Immagine 11">
            <a:extLst>
              <a:ext uri="{FF2B5EF4-FFF2-40B4-BE49-F238E27FC236}">
                <a16:creationId xmlns:a16="http://schemas.microsoft.com/office/drawing/2014/main" id="{D4938B96-A1BD-49A8-8C5A-05B45364E8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36038" y="6288512"/>
            <a:ext cx="885703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5445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Capitolo Azzurra">
    <p:bg>
      <p:bgPr>
        <a:gradFill>
          <a:gsLst>
            <a:gs pos="29000">
              <a:srgbClr val="4E32AD"/>
            </a:gs>
            <a:gs pos="0">
              <a:srgbClr val="7030A0"/>
            </a:gs>
            <a:gs pos="100000">
              <a:schemeClr val="tx2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01DB3EAC-8E1F-5645-A42C-B99841D30D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2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600">
                <a:solidFill>
                  <a:schemeClr val="bg1"/>
                </a:solidFill>
              </a:defRPr>
            </a:lvl1pPr>
            <a:lvl2pPr algn="ctr">
              <a:defRPr sz="1600" b="0">
                <a:solidFill>
                  <a:schemeClr val="bg1"/>
                </a:solidFill>
              </a:defRPr>
            </a:lvl2pPr>
            <a:lvl3pPr algn="ctr">
              <a:defRPr sz="1600" b="0">
                <a:solidFill>
                  <a:schemeClr val="bg1"/>
                </a:solidFill>
              </a:defRPr>
            </a:lvl3pPr>
            <a:lvl4pPr marL="0" indent="0" algn="ctr">
              <a:buNone/>
              <a:defRPr sz="16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5pPr>
            <a:lvl6pPr algn="ctr">
              <a:defRPr sz="1600" b="0">
                <a:solidFill>
                  <a:schemeClr val="bg1"/>
                </a:solidFill>
              </a:defRPr>
            </a:lvl6pPr>
            <a:lvl7pPr marL="0" indent="0" algn="ctr">
              <a:buNone/>
              <a:defRPr sz="16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8pPr>
            <a:lvl9pPr algn="ctr"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6544319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 Capitolo Azzurra">
    <p:bg>
      <p:bgPr>
        <a:gradFill>
          <a:gsLst>
            <a:gs pos="29000">
              <a:srgbClr val="4E32AD"/>
            </a:gs>
            <a:gs pos="0">
              <a:srgbClr val="7030A0"/>
            </a:gs>
            <a:gs pos="100000">
              <a:schemeClr val="tx2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2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600">
                <a:solidFill>
                  <a:schemeClr val="bg1"/>
                </a:solidFill>
              </a:defRPr>
            </a:lvl1pPr>
            <a:lvl2pPr algn="ctr">
              <a:defRPr sz="1600" b="0">
                <a:solidFill>
                  <a:schemeClr val="bg1"/>
                </a:solidFill>
              </a:defRPr>
            </a:lvl2pPr>
            <a:lvl3pPr algn="ctr">
              <a:defRPr sz="1600" b="0">
                <a:solidFill>
                  <a:schemeClr val="bg1"/>
                </a:solidFill>
              </a:defRPr>
            </a:lvl3pPr>
            <a:lvl4pPr marL="0" indent="0" algn="ctr">
              <a:buNone/>
              <a:defRPr sz="16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5pPr>
            <a:lvl6pPr algn="ctr">
              <a:defRPr sz="1600" b="0">
                <a:solidFill>
                  <a:schemeClr val="bg1"/>
                </a:solidFill>
              </a:defRPr>
            </a:lvl6pPr>
            <a:lvl7pPr marL="0" indent="0" algn="ctr">
              <a:buNone/>
              <a:defRPr sz="16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8pPr>
            <a:lvl9pPr algn="ctr"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2892245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Capitolo Bl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01DB3EAC-8E1F-5645-A42C-B99841D30D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2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600">
                <a:solidFill>
                  <a:schemeClr val="bg1"/>
                </a:solidFill>
              </a:defRPr>
            </a:lvl1pPr>
            <a:lvl2pPr algn="ctr">
              <a:defRPr sz="1600" b="0">
                <a:solidFill>
                  <a:schemeClr val="bg1"/>
                </a:solidFill>
              </a:defRPr>
            </a:lvl2pPr>
            <a:lvl3pPr algn="ctr">
              <a:defRPr sz="1600" b="0">
                <a:solidFill>
                  <a:schemeClr val="bg1"/>
                </a:solidFill>
              </a:defRPr>
            </a:lvl3pPr>
            <a:lvl4pPr marL="0" indent="0" algn="ctr">
              <a:buNone/>
              <a:defRPr sz="16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5pPr>
            <a:lvl6pPr algn="ctr">
              <a:defRPr sz="1600" b="0">
                <a:solidFill>
                  <a:schemeClr val="bg1"/>
                </a:solidFill>
              </a:defRPr>
            </a:lvl6pPr>
            <a:lvl7pPr marL="0" indent="0" algn="ctr">
              <a:buNone/>
              <a:defRPr sz="16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8pPr>
            <a:lvl9pPr algn="ctr"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0252571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apitolo Arancio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01DB3EAC-8E1F-5645-A42C-B99841D30D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2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600">
                <a:solidFill>
                  <a:schemeClr val="bg1"/>
                </a:solidFill>
              </a:defRPr>
            </a:lvl1pPr>
            <a:lvl2pPr algn="ctr">
              <a:defRPr sz="1600" b="0">
                <a:solidFill>
                  <a:schemeClr val="bg1"/>
                </a:solidFill>
              </a:defRPr>
            </a:lvl2pPr>
            <a:lvl3pPr algn="ctr">
              <a:defRPr sz="1600" b="0">
                <a:solidFill>
                  <a:schemeClr val="bg1"/>
                </a:solidFill>
              </a:defRPr>
            </a:lvl3pPr>
            <a:lvl4pPr marL="0" indent="0" algn="ctr">
              <a:buNone/>
              <a:defRPr sz="16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5pPr>
            <a:lvl6pPr algn="ctr">
              <a:defRPr sz="1600" b="0">
                <a:solidFill>
                  <a:schemeClr val="bg1"/>
                </a:solidFill>
              </a:defRPr>
            </a:lvl6pPr>
            <a:lvl7pPr marL="0" indent="0" algn="ctr">
              <a:buNone/>
              <a:defRPr sz="16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8pPr>
            <a:lvl9pPr algn="ctr"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0465052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0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8280750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spcAft>
                <a:spcPts val="1200"/>
              </a:spcAft>
              <a:defRPr sz="1600" b="1" i="0"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 b="1" i="0"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>
            <a:lvl1pPr>
              <a:defRPr b="1" i="0"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tx1"/>
                </a:solidFill>
              </a:defRPr>
            </a:lvl1pPr>
            <a:lvl2pPr algn="l">
              <a:defRPr sz="1600" b="0">
                <a:solidFill>
                  <a:schemeClr val="tx1"/>
                </a:solidFill>
              </a:defRPr>
            </a:lvl2pPr>
            <a:lvl3pPr algn="l">
              <a:defRPr sz="1600" b="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0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3D90D13A-99E0-8F46-9991-0FABB5D2D3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1" y="6288512"/>
            <a:ext cx="877246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4853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in Evidenza Azzurro">
    <p:bg>
      <p:bgPr>
        <a:solidFill>
          <a:schemeClr val="accent3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0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8280750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spcAft>
                <a:spcPts val="1200"/>
              </a:spcAft>
              <a:defRPr sz="1600" b="1" i="0"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 b="1" i="0"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>
            <a:lvl1pPr>
              <a:defRPr b="1" i="0"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tx1"/>
                </a:solidFill>
              </a:defRPr>
            </a:lvl1pPr>
            <a:lvl2pPr algn="l">
              <a:defRPr sz="1600" b="0">
                <a:solidFill>
                  <a:schemeClr val="tx1"/>
                </a:solidFill>
              </a:defRPr>
            </a:lvl2pPr>
            <a:lvl3pPr algn="l">
              <a:defRPr sz="1600" b="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0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10" name="Immagine 2" descr="Immagine che contiene oggetto, pettine&#10;&#10;&#10;&#10;Descrizione generata automaticamente">
            <a:extLst>
              <a:ext uri="{FF2B5EF4-FFF2-40B4-BE49-F238E27FC236}">
                <a16:creationId xmlns:a16="http://schemas.microsoft.com/office/drawing/2014/main" id="{90CBCD44-6854-F340-9DC7-04AF501092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0000"/>
          </a:blip>
          <a:srcRect l="49877" t="16877" r="28310"/>
          <a:stretch/>
        </p:blipFill>
        <p:spPr>
          <a:xfrm>
            <a:off x="9532620" y="-1"/>
            <a:ext cx="2659380" cy="570057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B072CA11-493A-1840-88AC-429D2501CB6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17061" y="6288512"/>
            <a:ext cx="877246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655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in Evidenza Blu">
    <p:bg>
      <p:bgPr>
        <a:solidFill>
          <a:schemeClr val="accent2">
            <a:lumMod val="20000"/>
            <a:lumOff val="80000"/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0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8280750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spcAft>
                <a:spcPts val="1200"/>
              </a:spcAft>
              <a:defRPr sz="1600" b="1" i="0"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 b="1" i="0"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>
            <a:lvl1pPr>
              <a:defRPr b="1" i="0"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tx1"/>
                </a:solidFill>
              </a:defRPr>
            </a:lvl1pPr>
            <a:lvl2pPr algn="l">
              <a:defRPr sz="1600" b="0">
                <a:solidFill>
                  <a:schemeClr val="tx1"/>
                </a:solidFill>
              </a:defRPr>
            </a:lvl2pPr>
            <a:lvl3pPr algn="l">
              <a:defRPr sz="1600" b="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0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10" name="Immagine 2" descr="Immagine che contiene oggetto, pettine&#10;&#10;&#10;&#10;Descrizione generata automaticamente">
            <a:extLst>
              <a:ext uri="{FF2B5EF4-FFF2-40B4-BE49-F238E27FC236}">
                <a16:creationId xmlns:a16="http://schemas.microsoft.com/office/drawing/2014/main" id="{90CBCD44-6854-F340-9DC7-04AF501092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49877" r="28310"/>
          <a:stretch/>
        </p:blipFill>
        <p:spPr>
          <a:xfrm>
            <a:off x="9532620" y="-1157425"/>
            <a:ext cx="2659380" cy="6858000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497C5400-D5EA-864D-B438-914C27A4F69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217061" y="6288512"/>
            <a:ext cx="877246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512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in Evidenza Arancione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0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8280750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spcAft>
                <a:spcPts val="1200"/>
              </a:spcAft>
              <a:defRPr sz="1600" b="1" i="0"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 b="1" i="0"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>
            <a:lvl1pPr>
              <a:defRPr b="1" i="0"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tx1"/>
                </a:solidFill>
              </a:defRPr>
            </a:lvl1pPr>
            <a:lvl2pPr algn="l">
              <a:defRPr sz="1600" b="0">
                <a:solidFill>
                  <a:schemeClr val="tx1"/>
                </a:solidFill>
              </a:defRPr>
            </a:lvl2pPr>
            <a:lvl3pPr algn="l">
              <a:defRPr sz="1600" b="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0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10" name="Immagine 2" descr="Immagine che contiene oggetto, pettine&#10;&#10;&#10;&#10;Descrizione generata automaticamente">
            <a:extLst>
              <a:ext uri="{FF2B5EF4-FFF2-40B4-BE49-F238E27FC236}">
                <a16:creationId xmlns:a16="http://schemas.microsoft.com/office/drawing/2014/main" id="{90CBCD44-6854-F340-9DC7-04AF501092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49877" r="28310"/>
          <a:stretch/>
        </p:blipFill>
        <p:spPr>
          <a:xfrm>
            <a:off x="9532620" y="-1157425"/>
            <a:ext cx="2659380" cy="6858000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7D9070E2-CCFB-E74F-941B-BB4C49E135D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217061" y="6288512"/>
            <a:ext cx="877246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112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Negativ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0" cy="10246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8280750" cy="3299707"/>
          </a:xfrm>
        </p:spPr>
        <p:txBody>
          <a:bodyPr/>
          <a:lstStyle>
            <a:lvl1pPr>
              <a:lnSpc>
                <a:spcPct val="120000"/>
              </a:lnSpc>
              <a:defRPr sz="1600"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 sz="1600">
                <a:solidFill>
                  <a:schemeClr val="bg1"/>
                </a:solidFill>
              </a:defRPr>
            </a:lvl2pPr>
            <a:lvl3pPr>
              <a:lnSpc>
                <a:spcPct val="120000"/>
              </a:lnSpc>
              <a:spcAft>
                <a:spcPts val="1200"/>
              </a:spcAft>
              <a:defRPr sz="1600"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4pPr>
            <a:lvl5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5pPr>
            <a:lvl6pPr>
              <a:lnSpc>
                <a:spcPct val="120000"/>
              </a:lnSpc>
              <a:defRPr sz="1600" b="1" i="0">
                <a:solidFill>
                  <a:schemeClr val="bg1"/>
                </a:solidFill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7pPr>
            <a:lvl8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8pPr>
            <a:lvl9pPr>
              <a:lnSpc>
                <a:spcPct val="120000"/>
              </a:lnSpc>
              <a:defRPr sz="1600">
                <a:solidFill>
                  <a:schemeClr val="bg2">
                    <a:lumMod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>
            <a:lvl1pPr>
              <a:defRPr b="1" i="0">
                <a:solidFill>
                  <a:schemeClr val="bg2">
                    <a:lumMod val="9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bg2">
                    <a:lumMod val="75000"/>
                  </a:schemeClr>
                </a:solidFill>
              </a:defRPr>
            </a:lvl1pPr>
            <a:lvl2pPr algn="l">
              <a:defRPr sz="1600" b="0">
                <a:solidFill>
                  <a:schemeClr val="tx1"/>
                </a:solidFill>
              </a:defRPr>
            </a:lvl2pPr>
            <a:lvl3pPr algn="l">
              <a:defRPr sz="1600" b="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0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37EB6CD0-4E11-4C4F-9278-DE24FCB1D4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1" y="6288512"/>
            <a:ext cx="885703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6697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Doppia Colon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49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4625622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defRPr sz="1600" b="1" i="0"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 b="1" i="0"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5B5E5292-2915-6F4F-BD1A-41026E9998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68245" y="2427111"/>
            <a:ext cx="4625622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defRPr sz="1600" b="1" i="0"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 b="1" i="0"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12" name="Segnaposto testo 3">
            <a:extLst>
              <a:ext uri="{FF2B5EF4-FFF2-40B4-BE49-F238E27FC236}">
                <a16:creationId xmlns:a16="http://schemas.microsoft.com/office/drawing/2014/main" id="{6808AE09-CC53-3E41-A16B-36822A2C95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3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tx1"/>
                </a:solidFill>
              </a:defRPr>
            </a:lvl1pPr>
            <a:lvl2pPr algn="l">
              <a:defRPr sz="1600">
                <a:solidFill>
                  <a:schemeClr val="tx1"/>
                </a:solidFill>
              </a:defRPr>
            </a:lvl2pPr>
            <a:lvl3pPr algn="l"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1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 b="1">
                <a:solidFill>
                  <a:schemeClr val="tx1"/>
                </a:solidFill>
              </a:defRPr>
            </a:lvl9pPr>
          </a:lstStyle>
          <a:p>
            <a:pPr lvl="8"/>
            <a:r>
              <a:rPr lang="it-IT"/>
              <a:t>Modifica gli stili del testo dello schema</a:t>
            </a:r>
          </a:p>
        </p:txBody>
      </p:sp>
      <p:sp>
        <p:nvSpPr>
          <p:cNvPr id="9" name="Segnaposto piè di pagina 5">
            <a:extLst>
              <a:ext uri="{FF2B5EF4-FFF2-40B4-BE49-F238E27FC236}">
                <a16:creationId xmlns:a16="http://schemas.microsoft.com/office/drawing/2014/main" id="{B0319D03-3198-554C-BD6E-1259B907D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11" name="Segnaposto numero diapositiva 6">
            <a:extLst>
              <a:ext uri="{FF2B5EF4-FFF2-40B4-BE49-F238E27FC236}">
                <a16:creationId xmlns:a16="http://schemas.microsoft.com/office/drawing/2014/main" id="{FA960D54-B34D-484F-A2AF-1505B5CF5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>
            <a:lvl1pPr>
              <a:defRPr b="1" i="0"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BBEF9631-23C0-4240-8023-923FC137B5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1" y="6288512"/>
            <a:ext cx="877246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067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andard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0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8280750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spcAft>
                <a:spcPts val="1200"/>
              </a:spcAft>
              <a:defRPr sz="16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/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tx1"/>
                </a:solidFill>
              </a:defRPr>
            </a:lvl1pPr>
            <a:lvl2pPr algn="l">
              <a:defRPr sz="1600" b="0">
                <a:solidFill>
                  <a:schemeClr val="tx1"/>
                </a:solidFill>
              </a:defRPr>
            </a:lvl2pPr>
            <a:lvl3pPr algn="l">
              <a:defRPr sz="1600" b="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0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pic>
        <p:nvPicPr>
          <p:cNvPr id="6" name="Immagine 9">
            <a:extLst>
              <a:ext uri="{FF2B5EF4-FFF2-40B4-BE49-F238E27FC236}">
                <a16:creationId xmlns:a16="http://schemas.microsoft.com/office/drawing/2014/main" id="{33EFA52F-DF08-47A7-80BB-BF687865E9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83142" y="6277879"/>
            <a:ext cx="877246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375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>
            <a:extLst>
              <a:ext uri="{FF2B5EF4-FFF2-40B4-BE49-F238E27FC236}">
                <a16:creationId xmlns:a16="http://schemas.microsoft.com/office/drawing/2014/main" id="{11A2B90E-64C3-4746-963D-0F2B67C47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0155" y="692150"/>
            <a:ext cx="8298649" cy="98724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600" b="1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F9060F5-46F0-D140-97D0-2DA3405C5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10" name="Segnaposto numero diapositiva 6">
            <a:extLst>
              <a:ext uri="{FF2B5EF4-FFF2-40B4-BE49-F238E27FC236}">
                <a16:creationId xmlns:a16="http://schemas.microsoft.com/office/drawing/2014/main" id="{52A5AFBD-A006-D043-B68F-4A59430CC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>
            <a:lvl1pPr>
              <a:defRPr b="1" i="0"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95C4E57D-6E09-D14C-BBB0-3F55F193F7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1" y="6288512"/>
            <a:ext cx="877246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8582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magine con Didascal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immagine 9">
            <a:extLst>
              <a:ext uri="{FF2B5EF4-FFF2-40B4-BE49-F238E27FC236}">
                <a16:creationId xmlns:a16="http://schemas.microsoft.com/office/drawing/2014/main" id="{9AF8AD17-5B84-F64D-A01A-F60B166270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962400" y="0"/>
            <a:ext cx="8229600" cy="6858000"/>
          </a:xfrm>
          <a:solidFill>
            <a:schemeClr val="tx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Inserisci qua la tua immagine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B0D3203E-FD18-9640-B396-96D72EF9BA06}"/>
              </a:ext>
            </a:extLst>
          </p:cNvPr>
          <p:cNvSpPr/>
          <p:nvPr userDrawn="1"/>
        </p:nvSpPr>
        <p:spPr>
          <a:xfrm>
            <a:off x="0" y="0"/>
            <a:ext cx="3962400" cy="68580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="1" i="0">
              <a:latin typeface="Century Gothic" panose="020B0502020202020204" pitchFamily="34" charset="0"/>
            </a:endParaRPr>
          </a:p>
        </p:txBody>
      </p:sp>
      <p:sp>
        <p:nvSpPr>
          <p:cNvPr id="7" name="Segnaposto piè di pagina 5">
            <a:extLst>
              <a:ext uri="{FF2B5EF4-FFF2-40B4-BE49-F238E27FC236}">
                <a16:creationId xmlns:a16="http://schemas.microsoft.com/office/drawing/2014/main" id="{A3B4FAAB-2F51-D940-91AD-BF7CB32B6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8" name="Segnaposto numero diapositiva 6">
            <a:extLst>
              <a:ext uri="{FF2B5EF4-FFF2-40B4-BE49-F238E27FC236}">
                <a16:creationId xmlns:a16="http://schemas.microsoft.com/office/drawing/2014/main" id="{619162CF-2A40-A247-A762-B3A6CDDD8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>
            <a:lvl1pPr>
              <a:defRPr b="1" i="0">
                <a:solidFill>
                  <a:schemeClr val="bg2">
                    <a:lumMod val="9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8DA7AEFB-A901-4B4F-9103-02C10D48AD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1" y="6288512"/>
            <a:ext cx="885703" cy="309030"/>
          </a:xfrm>
          <a:prstGeom prst="rect">
            <a:avLst/>
          </a:prstGeom>
        </p:spPr>
      </p:pic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234D851-E782-E645-AC68-D22059B1F5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736653"/>
            <a:ext cx="2942110" cy="5051499"/>
          </a:xfrm>
        </p:spPr>
        <p:txBody>
          <a:bodyPr/>
          <a:lstStyle>
            <a:lvl1pPr>
              <a:lnSpc>
                <a:spcPct val="120000"/>
              </a:lnSpc>
              <a:defRPr sz="1600"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 sz="1600">
                <a:solidFill>
                  <a:schemeClr val="accent3">
                    <a:lumMod val="40000"/>
                    <a:lumOff val="60000"/>
                  </a:schemeClr>
                </a:solidFill>
              </a:defRPr>
            </a:lvl2pPr>
            <a:lvl3pPr>
              <a:lnSpc>
                <a:spcPct val="120000"/>
              </a:lnSpc>
              <a:spcAft>
                <a:spcPts val="1200"/>
              </a:spcAft>
              <a:defRPr sz="1600"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4pPr>
            <a:lvl5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5pPr>
            <a:lvl6pPr>
              <a:lnSpc>
                <a:spcPct val="120000"/>
              </a:lnSpc>
              <a:defRPr sz="1600">
                <a:solidFill>
                  <a:schemeClr val="bg1"/>
                </a:solidFill>
              </a:defRPr>
            </a:lvl6pPr>
            <a:lvl7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7pPr>
            <a:lvl8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8pPr>
            <a:lvl9pPr>
              <a:lnSpc>
                <a:spcPct val="120000"/>
              </a:lnSpc>
              <a:defRPr sz="1600">
                <a:solidFill>
                  <a:schemeClr val="bg2">
                    <a:lumMod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6187712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iusur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09C68186-391E-3049-A028-F080EA08F3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568" y="3076575"/>
            <a:ext cx="2000864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494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27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7669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 Presentazione">
    <p:bg>
      <p:bgPr>
        <a:gradFill flip="none" rotWithShape="1">
          <a:gsLst>
            <a:gs pos="0">
              <a:schemeClr val="accent3"/>
            </a:gs>
            <a:gs pos="50000">
              <a:schemeClr val="tx2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11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4A529BB1-F96E-474D-BBFC-7E519DD7FA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377B198F-4AEF-1A44-83BA-A14FA515CC8B}"/>
              </a:ext>
            </a:extLst>
          </p:cNvPr>
          <p:cNvSpPr txBox="1"/>
          <p:nvPr userDrawn="1"/>
        </p:nvSpPr>
        <p:spPr>
          <a:xfrm>
            <a:off x="8682273" y="110452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it-IT" sz="900" b="1" i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37633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resentazio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8774319-A9C1-9D45-8C42-6DB288A803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1445" y="1642534"/>
            <a:ext cx="6995556" cy="259561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500" b="1">
                <a:solidFill>
                  <a:schemeClr val="bg1"/>
                </a:solidFill>
              </a:defRPr>
            </a:lvl1pPr>
          </a:lstStyle>
          <a:p>
            <a:r>
              <a:rPr lang="it-IT"/>
              <a:t>Titolo Presentazione</a:t>
            </a:r>
          </a:p>
        </p:txBody>
      </p:sp>
      <p:sp>
        <p:nvSpPr>
          <p:cNvPr id="7" name="Segnaposto testo 3">
            <a:extLst>
              <a:ext uri="{FF2B5EF4-FFF2-40B4-BE49-F238E27FC236}">
                <a16:creationId xmlns:a16="http://schemas.microsoft.com/office/drawing/2014/main" id="{5700410D-1E44-4645-9A39-5484229C8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5" y="973667"/>
            <a:ext cx="6995556" cy="506490"/>
          </a:xfrm>
        </p:spPr>
        <p:txBody>
          <a:bodyPr anchor="b" anchorCtr="0"/>
          <a:lstStyle>
            <a:lvl1pPr algn="l">
              <a:defRPr sz="1200">
                <a:solidFill>
                  <a:schemeClr val="bg1"/>
                </a:solidFill>
              </a:defRPr>
            </a:lvl1pPr>
            <a:lvl2pPr algn="l">
              <a:defRPr sz="1200">
                <a:solidFill>
                  <a:schemeClr val="bg1"/>
                </a:solidFill>
              </a:defRPr>
            </a:lvl2pPr>
            <a:lvl3pPr algn="l">
              <a:defRPr sz="1200">
                <a:solidFill>
                  <a:schemeClr val="bg1"/>
                </a:solidFill>
              </a:defRPr>
            </a:lvl3pPr>
            <a:lvl4pPr marL="0" indent="0" algn="l">
              <a:buNone/>
              <a:defRPr sz="1200">
                <a:solidFill>
                  <a:schemeClr val="bg1"/>
                </a:solidFill>
              </a:defRPr>
            </a:lvl4pPr>
            <a:lvl5pPr marL="0" indent="0" algn="l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5pPr>
            <a:lvl6pPr algn="l">
              <a:defRPr sz="1200" b="0">
                <a:solidFill>
                  <a:schemeClr val="bg1"/>
                </a:solidFill>
              </a:defRPr>
            </a:lvl6pPr>
            <a:lvl7pPr marL="0" indent="0" algn="l">
              <a:defRPr sz="1200">
                <a:solidFill>
                  <a:schemeClr val="bg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8pPr>
            <a:lvl9pPr algn="l"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3E9F8569-52C1-514B-9618-173BE13EE9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1445" y="4428822"/>
            <a:ext cx="6995556" cy="506490"/>
          </a:xfrm>
        </p:spPr>
        <p:txBody>
          <a:bodyPr anchor="t" anchorCtr="0"/>
          <a:lstStyle>
            <a:lvl1pPr algn="l">
              <a:defRPr sz="1500">
                <a:solidFill>
                  <a:schemeClr val="accent3"/>
                </a:solidFill>
              </a:defRPr>
            </a:lvl1pPr>
            <a:lvl2pPr algn="l">
              <a:defRPr sz="1500" b="0">
                <a:solidFill>
                  <a:schemeClr val="bg1"/>
                </a:solidFill>
              </a:defRPr>
            </a:lvl2pPr>
            <a:lvl3pPr algn="l">
              <a:defRPr sz="1500" b="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Clr>
                <a:schemeClr val="bg1"/>
              </a:buClr>
              <a:buNone/>
              <a:defRPr sz="1500">
                <a:solidFill>
                  <a:schemeClr val="bg1"/>
                </a:solidFill>
              </a:defRPr>
            </a:lvl5pPr>
            <a:lvl6pPr algn="l">
              <a:defRPr sz="1500" b="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500">
                <a:solidFill>
                  <a:schemeClr val="bg1"/>
                </a:solidFill>
              </a:defRPr>
            </a:lvl8pPr>
            <a:lvl9pPr algn="l"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77B198F-4AEF-1A44-83BA-A14FA515CC8B}"/>
              </a:ext>
            </a:extLst>
          </p:cNvPr>
          <p:cNvSpPr txBox="1"/>
          <p:nvPr userDrawn="1"/>
        </p:nvSpPr>
        <p:spPr>
          <a:xfrm>
            <a:off x="8682273" y="110452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it-IT" sz="900" b="1" i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8966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Capitolo Azzurra">
    <p:bg>
      <p:bgPr>
        <a:gradFill>
          <a:gsLst>
            <a:gs pos="0">
              <a:schemeClr val="accent5"/>
            </a:gs>
            <a:gs pos="57000">
              <a:schemeClr val="tx2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01DB3EAC-8E1F-5645-A42C-B99841D30D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4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200">
                <a:solidFill>
                  <a:schemeClr val="bg1"/>
                </a:solidFill>
              </a:defRPr>
            </a:lvl1pPr>
            <a:lvl2pPr algn="ctr">
              <a:defRPr sz="1200" b="0">
                <a:solidFill>
                  <a:schemeClr val="bg1"/>
                </a:solidFill>
              </a:defRPr>
            </a:lvl2pPr>
            <a:lvl3pPr algn="ctr">
              <a:defRPr sz="1200" b="0">
                <a:solidFill>
                  <a:schemeClr val="bg1"/>
                </a:solidFill>
              </a:defRPr>
            </a:lvl3pPr>
            <a:lvl4pPr marL="0" indent="0" algn="ctr"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5pPr>
            <a:lvl6pPr algn="ctr">
              <a:defRPr sz="1200" b="0">
                <a:solidFill>
                  <a:schemeClr val="bg1"/>
                </a:solidFill>
              </a:defRPr>
            </a:lvl6pPr>
            <a:lvl7pPr marL="0" indent="0" algn="ctr">
              <a:buNone/>
              <a:defRPr sz="12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8pPr>
            <a:lvl9pPr algn="ctr"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760666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 Capitolo Azzurra">
    <p:bg>
      <p:bgPr>
        <a:gradFill>
          <a:gsLst>
            <a:gs pos="29000">
              <a:srgbClr val="4E32AD"/>
            </a:gs>
            <a:gs pos="0">
              <a:srgbClr val="7030A0"/>
            </a:gs>
            <a:gs pos="100000">
              <a:schemeClr val="tx2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01DB3EAC-8E1F-5645-A42C-B99841D30D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4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200">
                <a:solidFill>
                  <a:schemeClr val="bg1"/>
                </a:solidFill>
              </a:defRPr>
            </a:lvl1pPr>
            <a:lvl2pPr algn="ctr">
              <a:defRPr sz="1200" b="0">
                <a:solidFill>
                  <a:schemeClr val="bg1"/>
                </a:solidFill>
              </a:defRPr>
            </a:lvl2pPr>
            <a:lvl3pPr algn="ctr">
              <a:defRPr sz="1200" b="0">
                <a:solidFill>
                  <a:schemeClr val="bg1"/>
                </a:solidFill>
              </a:defRPr>
            </a:lvl3pPr>
            <a:lvl4pPr marL="0" indent="0" algn="ctr"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5pPr>
            <a:lvl6pPr algn="ctr">
              <a:defRPr sz="1200" b="0">
                <a:solidFill>
                  <a:schemeClr val="bg1"/>
                </a:solidFill>
              </a:defRPr>
            </a:lvl6pPr>
            <a:lvl7pPr marL="0" indent="0" algn="ctr">
              <a:buNone/>
              <a:defRPr sz="12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8pPr>
            <a:lvl9pPr algn="ctr"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6544319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 Capitolo Azzurra">
    <p:bg>
      <p:bgPr>
        <a:gradFill>
          <a:gsLst>
            <a:gs pos="29000">
              <a:srgbClr val="4E32AD"/>
            </a:gs>
            <a:gs pos="0">
              <a:srgbClr val="7030A0"/>
            </a:gs>
            <a:gs pos="100000">
              <a:schemeClr val="tx2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4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200">
                <a:solidFill>
                  <a:schemeClr val="bg1"/>
                </a:solidFill>
              </a:defRPr>
            </a:lvl1pPr>
            <a:lvl2pPr algn="ctr">
              <a:defRPr sz="1200" b="0">
                <a:solidFill>
                  <a:schemeClr val="bg1"/>
                </a:solidFill>
              </a:defRPr>
            </a:lvl2pPr>
            <a:lvl3pPr algn="ctr">
              <a:defRPr sz="1200" b="0">
                <a:solidFill>
                  <a:schemeClr val="bg1"/>
                </a:solidFill>
              </a:defRPr>
            </a:lvl3pPr>
            <a:lvl4pPr marL="0" indent="0" algn="ctr"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5pPr>
            <a:lvl6pPr algn="ctr">
              <a:defRPr sz="1200" b="0">
                <a:solidFill>
                  <a:schemeClr val="bg1"/>
                </a:solidFill>
              </a:defRPr>
            </a:lvl6pPr>
            <a:lvl7pPr marL="0" indent="0" algn="ctr">
              <a:buNone/>
              <a:defRPr sz="12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8pPr>
            <a:lvl9pPr algn="ctr"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2892245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Capitolo Bl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01DB3EAC-8E1F-5645-A42C-B99841D30D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4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200">
                <a:solidFill>
                  <a:schemeClr val="bg1"/>
                </a:solidFill>
              </a:defRPr>
            </a:lvl1pPr>
            <a:lvl2pPr algn="ctr">
              <a:defRPr sz="1200" b="0">
                <a:solidFill>
                  <a:schemeClr val="bg1"/>
                </a:solidFill>
              </a:defRPr>
            </a:lvl2pPr>
            <a:lvl3pPr algn="ctr">
              <a:defRPr sz="1200" b="0">
                <a:solidFill>
                  <a:schemeClr val="bg1"/>
                </a:solidFill>
              </a:defRPr>
            </a:lvl3pPr>
            <a:lvl4pPr marL="0" indent="0" algn="ctr"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5pPr>
            <a:lvl6pPr algn="ctr">
              <a:defRPr sz="1200" b="0">
                <a:solidFill>
                  <a:schemeClr val="bg1"/>
                </a:solidFill>
              </a:defRPr>
            </a:lvl6pPr>
            <a:lvl7pPr marL="0" indent="0" algn="ctr">
              <a:buNone/>
              <a:defRPr sz="12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8pPr>
            <a:lvl9pPr algn="ctr"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025257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oppia Colonna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49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4625622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defRPr sz="16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/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5B5E5292-2915-6F4F-BD1A-41026E9998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68245" y="2427111"/>
            <a:ext cx="4625622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defRPr sz="16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/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2" name="Segnaposto testo 3">
            <a:extLst>
              <a:ext uri="{FF2B5EF4-FFF2-40B4-BE49-F238E27FC236}">
                <a16:creationId xmlns:a16="http://schemas.microsoft.com/office/drawing/2014/main" id="{6808AE09-CC53-3E41-A16B-36822A2C95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3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tx1"/>
                </a:solidFill>
              </a:defRPr>
            </a:lvl1pPr>
            <a:lvl2pPr algn="l">
              <a:defRPr sz="1600">
                <a:solidFill>
                  <a:schemeClr val="tx1"/>
                </a:solidFill>
              </a:defRPr>
            </a:lvl2pPr>
            <a:lvl3pPr algn="l"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1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9" name="Segnaposto piè di pagina 5">
            <a:extLst>
              <a:ext uri="{FF2B5EF4-FFF2-40B4-BE49-F238E27FC236}">
                <a16:creationId xmlns:a16="http://schemas.microsoft.com/office/drawing/2014/main" id="{B0319D03-3198-554C-BD6E-1259B907D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endParaRPr lang="it-IT">
              <a:solidFill>
                <a:srgbClr val="555555">
                  <a:tint val="75000"/>
                </a:srgbClr>
              </a:solidFill>
            </a:endParaRPr>
          </a:p>
        </p:txBody>
      </p:sp>
      <p:sp>
        <p:nvSpPr>
          <p:cNvPr id="11" name="Segnaposto numero diapositiva 6">
            <a:extLst>
              <a:ext uri="{FF2B5EF4-FFF2-40B4-BE49-F238E27FC236}">
                <a16:creationId xmlns:a16="http://schemas.microsoft.com/office/drawing/2014/main" id="{FA960D54-B34D-484F-A2AF-1505B5CF5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/>
          <a:p>
            <a:fld id="{EDAA79C4-06C3-BD44-B9A6-7F4B8B549F79}" type="slidenum">
              <a:rPr lang="it-IT" smtClean="0">
                <a:solidFill>
                  <a:srgbClr val="555555">
                    <a:tint val="75000"/>
                  </a:srgbClr>
                </a:solidFill>
              </a:rPr>
              <a:pPr/>
              <a:t>‹N›</a:t>
            </a:fld>
            <a:endParaRPr lang="it-IT">
              <a:solidFill>
                <a:srgbClr val="555555">
                  <a:tint val="75000"/>
                </a:srgbClr>
              </a:solidFill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BBEF9631-23C0-4240-8023-923FC137B5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83142" y="6277879"/>
            <a:ext cx="877246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3553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Capitolo Arancio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01DB3EAC-8E1F-5645-A42C-B99841D30D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4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200">
                <a:solidFill>
                  <a:schemeClr val="bg1"/>
                </a:solidFill>
              </a:defRPr>
            </a:lvl1pPr>
            <a:lvl2pPr algn="ctr">
              <a:defRPr sz="1200" b="0">
                <a:solidFill>
                  <a:schemeClr val="bg1"/>
                </a:solidFill>
              </a:defRPr>
            </a:lvl2pPr>
            <a:lvl3pPr algn="ctr">
              <a:defRPr sz="1200" b="0">
                <a:solidFill>
                  <a:schemeClr val="bg1"/>
                </a:solidFill>
              </a:defRPr>
            </a:lvl3pPr>
            <a:lvl4pPr marL="0" indent="0" algn="ctr">
              <a:buNone/>
              <a:defRPr sz="12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5pPr>
            <a:lvl6pPr algn="ctr">
              <a:defRPr sz="1200" b="0">
                <a:solidFill>
                  <a:schemeClr val="bg1"/>
                </a:solidFill>
              </a:defRPr>
            </a:lvl6pPr>
            <a:lvl7pPr marL="0" indent="0" algn="ctr">
              <a:buNone/>
              <a:defRPr sz="12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8pPr>
            <a:lvl9pPr algn="ctr"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0465052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i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1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3"/>
            <a:ext cx="8280751" cy="3299707"/>
          </a:xfrm>
        </p:spPr>
        <p:txBody>
          <a:bodyPr/>
          <a:lstStyle>
            <a:lvl1pPr>
              <a:lnSpc>
                <a:spcPct val="120000"/>
              </a:lnSpc>
              <a:defRPr sz="1200"/>
            </a:lvl1pPr>
            <a:lvl2pPr>
              <a:lnSpc>
                <a:spcPct val="120000"/>
              </a:lnSpc>
              <a:defRPr sz="1200"/>
            </a:lvl2pPr>
            <a:lvl3pPr>
              <a:lnSpc>
                <a:spcPct val="120000"/>
              </a:lnSpc>
              <a:spcAft>
                <a:spcPts val="900"/>
              </a:spcAft>
              <a:defRPr sz="1200" b="1" i="0"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defRPr sz="1200"/>
            </a:lvl4pPr>
            <a:lvl5pPr>
              <a:lnSpc>
                <a:spcPct val="120000"/>
              </a:lnSpc>
              <a:defRPr sz="1200"/>
            </a:lvl5pPr>
            <a:lvl6pPr>
              <a:lnSpc>
                <a:spcPct val="120000"/>
              </a:lnSpc>
              <a:defRPr sz="1200" b="1" i="0"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defRPr sz="1200"/>
            </a:lvl7pPr>
            <a:lvl8pPr>
              <a:lnSpc>
                <a:spcPct val="120000"/>
              </a:lnSpc>
              <a:defRPr sz="1200"/>
            </a:lvl8pPr>
            <a:lvl9pPr>
              <a:lnSpc>
                <a:spcPct val="120000"/>
              </a:lnSpc>
              <a:defRPr sz="12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9" y="6368593"/>
            <a:ext cx="8966199" cy="365125"/>
          </a:xfrm>
        </p:spPr>
        <p:txBody>
          <a:bodyPr/>
          <a:lstStyle/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7" y="6368593"/>
            <a:ext cx="403579" cy="365125"/>
          </a:xfrm>
        </p:spPr>
        <p:txBody>
          <a:bodyPr/>
          <a:lstStyle>
            <a:lvl1pPr>
              <a:defRPr b="1" i="0"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5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200" b="1">
                <a:solidFill>
                  <a:schemeClr val="tx1"/>
                </a:solidFill>
              </a:defRPr>
            </a:lvl1pPr>
            <a:lvl2pPr algn="l">
              <a:defRPr sz="1200" b="0">
                <a:solidFill>
                  <a:schemeClr val="tx1"/>
                </a:solidFill>
              </a:defRPr>
            </a:lvl2pPr>
            <a:lvl3pPr algn="l">
              <a:defRPr sz="1200" b="0">
                <a:solidFill>
                  <a:schemeClr val="tx1"/>
                </a:solidFill>
              </a:defRPr>
            </a:lvl3pPr>
            <a:lvl4pPr marL="0" indent="0" algn="l">
              <a:buNone/>
              <a:defRPr sz="1200" b="0">
                <a:solidFill>
                  <a:schemeClr val="tx1"/>
                </a:solidFill>
              </a:defRPr>
            </a:lvl4pPr>
            <a:lvl5pPr marL="135000" indent="0" algn="l">
              <a:buClr>
                <a:schemeClr val="bg1"/>
              </a:buClr>
              <a:buNone/>
              <a:defRPr sz="1200" b="0">
                <a:solidFill>
                  <a:schemeClr val="tx1"/>
                </a:solidFill>
              </a:defRPr>
            </a:lvl5pPr>
            <a:lvl6pPr algn="l">
              <a:defRPr sz="1200" b="0">
                <a:solidFill>
                  <a:schemeClr val="tx1"/>
                </a:solidFill>
              </a:defRPr>
            </a:lvl6pPr>
            <a:lvl7pPr marL="0" indent="0" algn="l">
              <a:buNone/>
              <a:defRPr sz="12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200">
                <a:solidFill>
                  <a:schemeClr val="tx1"/>
                </a:solidFill>
              </a:defRPr>
            </a:lvl8pPr>
            <a:lvl9pPr algn="l"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3D90D13A-99E0-8F46-9991-0FABB5D2D3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2" y="6288512"/>
            <a:ext cx="877247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4853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in Evidenza Azzurro">
    <p:bg>
      <p:bgPr>
        <a:solidFill>
          <a:schemeClr val="accent3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1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3"/>
            <a:ext cx="8280751" cy="3299707"/>
          </a:xfrm>
        </p:spPr>
        <p:txBody>
          <a:bodyPr/>
          <a:lstStyle>
            <a:lvl1pPr>
              <a:lnSpc>
                <a:spcPct val="120000"/>
              </a:lnSpc>
              <a:defRPr sz="1200"/>
            </a:lvl1pPr>
            <a:lvl2pPr>
              <a:lnSpc>
                <a:spcPct val="120000"/>
              </a:lnSpc>
              <a:defRPr sz="1200"/>
            </a:lvl2pPr>
            <a:lvl3pPr>
              <a:lnSpc>
                <a:spcPct val="120000"/>
              </a:lnSpc>
              <a:spcAft>
                <a:spcPts val="900"/>
              </a:spcAft>
              <a:defRPr sz="1200" b="1" i="0"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defRPr sz="1200"/>
            </a:lvl4pPr>
            <a:lvl5pPr>
              <a:lnSpc>
                <a:spcPct val="120000"/>
              </a:lnSpc>
              <a:defRPr sz="1200"/>
            </a:lvl5pPr>
            <a:lvl6pPr>
              <a:lnSpc>
                <a:spcPct val="120000"/>
              </a:lnSpc>
              <a:defRPr sz="1200" b="1" i="0"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defRPr sz="1200"/>
            </a:lvl7pPr>
            <a:lvl8pPr>
              <a:lnSpc>
                <a:spcPct val="120000"/>
              </a:lnSpc>
              <a:defRPr sz="1200"/>
            </a:lvl8pPr>
            <a:lvl9pPr>
              <a:lnSpc>
                <a:spcPct val="120000"/>
              </a:lnSpc>
              <a:defRPr sz="12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9" y="6368593"/>
            <a:ext cx="8966199" cy="365125"/>
          </a:xfrm>
        </p:spPr>
        <p:txBody>
          <a:bodyPr/>
          <a:lstStyle/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7" y="6368593"/>
            <a:ext cx="403579" cy="365125"/>
          </a:xfrm>
        </p:spPr>
        <p:txBody>
          <a:bodyPr/>
          <a:lstStyle>
            <a:lvl1pPr>
              <a:defRPr b="1" i="0"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5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200" b="1">
                <a:solidFill>
                  <a:schemeClr val="tx1"/>
                </a:solidFill>
              </a:defRPr>
            </a:lvl1pPr>
            <a:lvl2pPr algn="l">
              <a:defRPr sz="1200" b="0">
                <a:solidFill>
                  <a:schemeClr val="tx1"/>
                </a:solidFill>
              </a:defRPr>
            </a:lvl2pPr>
            <a:lvl3pPr algn="l">
              <a:defRPr sz="1200" b="0">
                <a:solidFill>
                  <a:schemeClr val="tx1"/>
                </a:solidFill>
              </a:defRPr>
            </a:lvl3pPr>
            <a:lvl4pPr marL="0" indent="0" algn="l">
              <a:buNone/>
              <a:defRPr sz="1200" b="0">
                <a:solidFill>
                  <a:schemeClr val="tx1"/>
                </a:solidFill>
              </a:defRPr>
            </a:lvl4pPr>
            <a:lvl5pPr marL="135000" indent="0" algn="l">
              <a:buClr>
                <a:schemeClr val="bg1"/>
              </a:buClr>
              <a:buNone/>
              <a:defRPr sz="1200" b="0">
                <a:solidFill>
                  <a:schemeClr val="tx1"/>
                </a:solidFill>
              </a:defRPr>
            </a:lvl5pPr>
            <a:lvl6pPr algn="l">
              <a:defRPr sz="1200" b="0">
                <a:solidFill>
                  <a:schemeClr val="tx1"/>
                </a:solidFill>
              </a:defRPr>
            </a:lvl6pPr>
            <a:lvl7pPr marL="0" indent="0" algn="l">
              <a:buNone/>
              <a:defRPr sz="12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200">
                <a:solidFill>
                  <a:schemeClr val="tx1"/>
                </a:solidFill>
              </a:defRPr>
            </a:lvl8pPr>
            <a:lvl9pPr algn="l"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10" name="Immagine 2" descr="Immagine che contiene oggetto, pettine&#10;&#10;&#10;&#10;Descrizione generata automaticamente">
            <a:extLst>
              <a:ext uri="{FF2B5EF4-FFF2-40B4-BE49-F238E27FC236}">
                <a16:creationId xmlns:a16="http://schemas.microsoft.com/office/drawing/2014/main" id="{90CBCD44-6854-F340-9DC7-04AF501092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0000"/>
          </a:blip>
          <a:srcRect l="49877" t="16877" r="28310"/>
          <a:stretch/>
        </p:blipFill>
        <p:spPr>
          <a:xfrm>
            <a:off x="9532621" y="-1"/>
            <a:ext cx="2659380" cy="570057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B072CA11-493A-1840-88AC-429D2501CB6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17062" y="6288512"/>
            <a:ext cx="877247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655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in Evidenza Blu">
    <p:bg>
      <p:bgPr>
        <a:solidFill>
          <a:schemeClr val="accent2">
            <a:lumMod val="20000"/>
            <a:lumOff val="80000"/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1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3"/>
            <a:ext cx="8280751" cy="3299707"/>
          </a:xfrm>
        </p:spPr>
        <p:txBody>
          <a:bodyPr/>
          <a:lstStyle>
            <a:lvl1pPr>
              <a:lnSpc>
                <a:spcPct val="120000"/>
              </a:lnSpc>
              <a:defRPr sz="1200"/>
            </a:lvl1pPr>
            <a:lvl2pPr>
              <a:lnSpc>
                <a:spcPct val="120000"/>
              </a:lnSpc>
              <a:defRPr sz="1200"/>
            </a:lvl2pPr>
            <a:lvl3pPr>
              <a:lnSpc>
                <a:spcPct val="120000"/>
              </a:lnSpc>
              <a:spcAft>
                <a:spcPts val="900"/>
              </a:spcAft>
              <a:defRPr sz="1200" b="1" i="0"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defRPr sz="1200"/>
            </a:lvl4pPr>
            <a:lvl5pPr>
              <a:lnSpc>
                <a:spcPct val="120000"/>
              </a:lnSpc>
              <a:defRPr sz="1200"/>
            </a:lvl5pPr>
            <a:lvl6pPr>
              <a:lnSpc>
                <a:spcPct val="120000"/>
              </a:lnSpc>
              <a:defRPr sz="1200" b="1" i="0"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defRPr sz="1200"/>
            </a:lvl7pPr>
            <a:lvl8pPr>
              <a:lnSpc>
                <a:spcPct val="120000"/>
              </a:lnSpc>
              <a:defRPr sz="1200"/>
            </a:lvl8pPr>
            <a:lvl9pPr>
              <a:lnSpc>
                <a:spcPct val="120000"/>
              </a:lnSpc>
              <a:defRPr sz="12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9" y="6368593"/>
            <a:ext cx="8966199" cy="365125"/>
          </a:xfrm>
        </p:spPr>
        <p:txBody>
          <a:bodyPr/>
          <a:lstStyle/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7" y="6368593"/>
            <a:ext cx="403579" cy="365125"/>
          </a:xfrm>
        </p:spPr>
        <p:txBody>
          <a:bodyPr/>
          <a:lstStyle>
            <a:lvl1pPr>
              <a:defRPr b="1" i="0"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5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200" b="1">
                <a:solidFill>
                  <a:schemeClr val="tx1"/>
                </a:solidFill>
              </a:defRPr>
            </a:lvl1pPr>
            <a:lvl2pPr algn="l">
              <a:defRPr sz="1200" b="0">
                <a:solidFill>
                  <a:schemeClr val="tx1"/>
                </a:solidFill>
              </a:defRPr>
            </a:lvl2pPr>
            <a:lvl3pPr algn="l">
              <a:defRPr sz="1200" b="0">
                <a:solidFill>
                  <a:schemeClr val="tx1"/>
                </a:solidFill>
              </a:defRPr>
            </a:lvl3pPr>
            <a:lvl4pPr marL="0" indent="0" algn="l">
              <a:buNone/>
              <a:defRPr sz="1200" b="0">
                <a:solidFill>
                  <a:schemeClr val="tx1"/>
                </a:solidFill>
              </a:defRPr>
            </a:lvl4pPr>
            <a:lvl5pPr marL="135000" indent="0" algn="l">
              <a:buClr>
                <a:schemeClr val="bg1"/>
              </a:buClr>
              <a:buNone/>
              <a:defRPr sz="1200" b="0">
                <a:solidFill>
                  <a:schemeClr val="tx1"/>
                </a:solidFill>
              </a:defRPr>
            </a:lvl5pPr>
            <a:lvl6pPr algn="l">
              <a:defRPr sz="1200" b="0">
                <a:solidFill>
                  <a:schemeClr val="tx1"/>
                </a:solidFill>
              </a:defRPr>
            </a:lvl6pPr>
            <a:lvl7pPr marL="0" indent="0" algn="l">
              <a:buNone/>
              <a:defRPr sz="12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200">
                <a:solidFill>
                  <a:schemeClr val="tx1"/>
                </a:solidFill>
              </a:defRPr>
            </a:lvl8pPr>
            <a:lvl9pPr algn="l"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10" name="Immagine 2" descr="Immagine che contiene oggetto, pettine&#10;&#10;&#10;&#10;Descrizione generata automaticamente">
            <a:extLst>
              <a:ext uri="{FF2B5EF4-FFF2-40B4-BE49-F238E27FC236}">
                <a16:creationId xmlns:a16="http://schemas.microsoft.com/office/drawing/2014/main" id="{90CBCD44-6854-F340-9DC7-04AF501092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49877" r="28310"/>
          <a:stretch/>
        </p:blipFill>
        <p:spPr>
          <a:xfrm>
            <a:off x="9532621" y="-1157425"/>
            <a:ext cx="2659380" cy="6858000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497C5400-D5EA-864D-B438-914C27A4F69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217062" y="6288512"/>
            <a:ext cx="877247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5127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in Evidenza Arancione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1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3"/>
            <a:ext cx="8280751" cy="3299707"/>
          </a:xfrm>
        </p:spPr>
        <p:txBody>
          <a:bodyPr/>
          <a:lstStyle>
            <a:lvl1pPr>
              <a:lnSpc>
                <a:spcPct val="120000"/>
              </a:lnSpc>
              <a:defRPr sz="1200"/>
            </a:lvl1pPr>
            <a:lvl2pPr>
              <a:lnSpc>
                <a:spcPct val="120000"/>
              </a:lnSpc>
              <a:defRPr sz="1200"/>
            </a:lvl2pPr>
            <a:lvl3pPr>
              <a:lnSpc>
                <a:spcPct val="120000"/>
              </a:lnSpc>
              <a:spcAft>
                <a:spcPts val="900"/>
              </a:spcAft>
              <a:defRPr sz="1200" b="1" i="0"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defRPr sz="1200"/>
            </a:lvl4pPr>
            <a:lvl5pPr>
              <a:lnSpc>
                <a:spcPct val="120000"/>
              </a:lnSpc>
              <a:defRPr sz="1200"/>
            </a:lvl5pPr>
            <a:lvl6pPr>
              <a:lnSpc>
                <a:spcPct val="120000"/>
              </a:lnSpc>
              <a:defRPr sz="1200" b="1" i="0"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defRPr sz="1200"/>
            </a:lvl7pPr>
            <a:lvl8pPr>
              <a:lnSpc>
                <a:spcPct val="120000"/>
              </a:lnSpc>
              <a:defRPr sz="1200"/>
            </a:lvl8pPr>
            <a:lvl9pPr>
              <a:lnSpc>
                <a:spcPct val="120000"/>
              </a:lnSpc>
              <a:defRPr sz="12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9" y="6368593"/>
            <a:ext cx="8966199" cy="365125"/>
          </a:xfrm>
        </p:spPr>
        <p:txBody>
          <a:bodyPr/>
          <a:lstStyle/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7" y="6368593"/>
            <a:ext cx="403579" cy="365125"/>
          </a:xfrm>
        </p:spPr>
        <p:txBody>
          <a:bodyPr/>
          <a:lstStyle>
            <a:lvl1pPr>
              <a:defRPr b="1" i="0"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5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200" b="1">
                <a:solidFill>
                  <a:schemeClr val="tx1"/>
                </a:solidFill>
              </a:defRPr>
            </a:lvl1pPr>
            <a:lvl2pPr algn="l">
              <a:defRPr sz="1200" b="0">
                <a:solidFill>
                  <a:schemeClr val="tx1"/>
                </a:solidFill>
              </a:defRPr>
            </a:lvl2pPr>
            <a:lvl3pPr algn="l">
              <a:defRPr sz="1200" b="0">
                <a:solidFill>
                  <a:schemeClr val="tx1"/>
                </a:solidFill>
              </a:defRPr>
            </a:lvl3pPr>
            <a:lvl4pPr marL="0" indent="0" algn="l">
              <a:buNone/>
              <a:defRPr sz="1200" b="0">
                <a:solidFill>
                  <a:schemeClr val="tx1"/>
                </a:solidFill>
              </a:defRPr>
            </a:lvl4pPr>
            <a:lvl5pPr marL="135000" indent="0" algn="l">
              <a:buClr>
                <a:schemeClr val="bg1"/>
              </a:buClr>
              <a:buNone/>
              <a:defRPr sz="1200" b="0">
                <a:solidFill>
                  <a:schemeClr val="tx1"/>
                </a:solidFill>
              </a:defRPr>
            </a:lvl5pPr>
            <a:lvl6pPr algn="l">
              <a:defRPr sz="1200" b="0">
                <a:solidFill>
                  <a:schemeClr val="tx1"/>
                </a:solidFill>
              </a:defRPr>
            </a:lvl6pPr>
            <a:lvl7pPr marL="0" indent="0" algn="l">
              <a:buNone/>
              <a:defRPr sz="12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200">
                <a:solidFill>
                  <a:schemeClr val="tx1"/>
                </a:solidFill>
              </a:defRPr>
            </a:lvl8pPr>
            <a:lvl9pPr algn="l"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10" name="Immagine 2" descr="Immagine che contiene oggetto, pettine&#10;&#10;&#10;&#10;Descrizione generata automaticamente">
            <a:extLst>
              <a:ext uri="{FF2B5EF4-FFF2-40B4-BE49-F238E27FC236}">
                <a16:creationId xmlns:a16="http://schemas.microsoft.com/office/drawing/2014/main" id="{90CBCD44-6854-F340-9DC7-04AF501092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49877" r="28310"/>
          <a:stretch/>
        </p:blipFill>
        <p:spPr>
          <a:xfrm>
            <a:off x="9532621" y="-1157425"/>
            <a:ext cx="2659380" cy="6858000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7D9070E2-CCFB-E74F-941B-BB4C49E135D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217062" y="6288512"/>
            <a:ext cx="877247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112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Negativ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1" cy="10246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3"/>
            <a:ext cx="8280751" cy="3299707"/>
          </a:xfrm>
        </p:spPr>
        <p:txBody>
          <a:bodyPr/>
          <a:lstStyle>
            <a:lvl1pPr>
              <a:lnSpc>
                <a:spcPct val="120000"/>
              </a:lnSpc>
              <a:defRPr sz="1200"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20000"/>
              </a:lnSpc>
              <a:spcAft>
                <a:spcPts val="900"/>
              </a:spcAft>
              <a:defRPr sz="1200"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buClr>
                <a:schemeClr val="bg2"/>
              </a:buClr>
              <a:defRPr sz="1200">
                <a:solidFill>
                  <a:schemeClr val="bg2"/>
                </a:solidFill>
              </a:defRPr>
            </a:lvl4pPr>
            <a:lvl5pPr>
              <a:lnSpc>
                <a:spcPct val="120000"/>
              </a:lnSpc>
              <a:buClr>
                <a:schemeClr val="bg2"/>
              </a:buClr>
              <a:defRPr sz="1200">
                <a:solidFill>
                  <a:schemeClr val="bg2"/>
                </a:solidFill>
              </a:defRPr>
            </a:lvl5pPr>
            <a:lvl6pPr>
              <a:lnSpc>
                <a:spcPct val="120000"/>
              </a:lnSpc>
              <a:defRPr sz="1200" b="1" i="0">
                <a:solidFill>
                  <a:schemeClr val="bg1"/>
                </a:solidFill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buClr>
                <a:schemeClr val="bg2"/>
              </a:buClr>
              <a:defRPr sz="1200">
                <a:solidFill>
                  <a:schemeClr val="bg2"/>
                </a:solidFill>
              </a:defRPr>
            </a:lvl7pPr>
            <a:lvl8pPr>
              <a:lnSpc>
                <a:spcPct val="120000"/>
              </a:lnSpc>
              <a:buClr>
                <a:schemeClr val="bg2"/>
              </a:buClr>
              <a:defRPr sz="1200">
                <a:solidFill>
                  <a:schemeClr val="bg2"/>
                </a:solidFill>
              </a:defRPr>
            </a:lvl8pPr>
            <a:lvl9pPr>
              <a:lnSpc>
                <a:spcPct val="120000"/>
              </a:lnSpc>
              <a:defRPr sz="1200">
                <a:solidFill>
                  <a:schemeClr val="bg2">
                    <a:lumMod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9" y="6368593"/>
            <a:ext cx="8966199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7" y="6368593"/>
            <a:ext cx="403579" cy="365125"/>
          </a:xfrm>
        </p:spPr>
        <p:txBody>
          <a:bodyPr/>
          <a:lstStyle>
            <a:lvl1pPr>
              <a:defRPr b="1" i="0">
                <a:solidFill>
                  <a:schemeClr val="bg2">
                    <a:lumMod val="9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5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  <a:lvl2pPr algn="l">
              <a:defRPr sz="1200" b="0">
                <a:solidFill>
                  <a:schemeClr val="tx1"/>
                </a:solidFill>
              </a:defRPr>
            </a:lvl2pPr>
            <a:lvl3pPr algn="l">
              <a:defRPr sz="1200" b="0">
                <a:solidFill>
                  <a:schemeClr val="tx1"/>
                </a:solidFill>
              </a:defRPr>
            </a:lvl3pPr>
            <a:lvl4pPr marL="0" indent="0" algn="l">
              <a:buNone/>
              <a:defRPr sz="1200" b="0">
                <a:solidFill>
                  <a:schemeClr val="tx1"/>
                </a:solidFill>
              </a:defRPr>
            </a:lvl4pPr>
            <a:lvl5pPr marL="135000" indent="0" algn="l">
              <a:buClr>
                <a:schemeClr val="bg1"/>
              </a:buClr>
              <a:buNone/>
              <a:defRPr sz="1200" b="0">
                <a:solidFill>
                  <a:schemeClr val="tx1"/>
                </a:solidFill>
              </a:defRPr>
            </a:lvl5pPr>
            <a:lvl6pPr algn="l">
              <a:defRPr sz="1200" b="0">
                <a:solidFill>
                  <a:schemeClr val="tx1"/>
                </a:solidFill>
              </a:defRPr>
            </a:lvl6pPr>
            <a:lvl7pPr marL="0" indent="0" algn="l">
              <a:buNone/>
              <a:defRPr sz="12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200">
                <a:solidFill>
                  <a:schemeClr val="tx1"/>
                </a:solidFill>
              </a:defRPr>
            </a:lvl8pPr>
            <a:lvl9pPr algn="l"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37EB6CD0-4E11-4C4F-9278-DE24FCB1D4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2" y="6288512"/>
            <a:ext cx="885703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6697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ide Doppia Colon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9" y="1238955"/>
            <a:ext cx="8280749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3"/>
            <a:ext cx="4625623" cy="3299707"/>
          </a:xfrm>
        </p:spPr>
        <p:txBody>
          <a:bodyPr/>
          <a:lstStyle>
            <a:lvl1pPr>
              <a:lnSpc>
                <a:spcPct val="120000"/>
              </a:lnSpc>
              <a:defRPr sz="1200"/>
            </a:lvl1pPr>
            <a:lvl2pPr>
              <a:lnSpc>
                <a:spcPct val="120000"/>
              </a:lnSpc>
              <a:defRPr sz="1200"/>
            </a:lvl2pPr>
            <a:lvl3pPr>
              <a:lnSpc>
                <a:spcPct val="120000"/>
              </a:lnSpc>
              <a:defRPr sz="1200" b="1" i="0"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defRPr sz="1200"/>
            </a:lvl4pPr>
            <a:lvl5pPr>
              <a:lnSpc>
                <a:spcPct val="120000"/>
              </a:lnSpc>
              <a:defRPr sz="1200"/>
            </a:lvl5pPr>
            <a:lvl6pPr>
              <a:lnSpc>
                <a:spcPct val="120000"/>
              </a:lnSpc>
              <a:defRPr sz="1200" b="1" i="0"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defRPr sz="1200"/>
            </a:lvl7pPr>
            <a:lvl8pPr>
              <a:lnSpc>
                <a:spcPct val="120000"/>
              </a:lnSpc>
              <a:defRPr sz="1200"/>
            </a:lvl8pPr>
            <a:lvl9pPr>
              <a:lnSpc>
                <a:spcPct val="120000"/>
              </a:lnSpc>
              <a:defRPr sz="12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5B5E5292-2915-6F4F-BD1A-41026E9998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68246" y="2427113"/>
            <a:ext cx="4625623" cy="3299707"/>
          </a:xfrm>
        </p:spPr>
        <p:txBody>
          <a:bodyPr/>
          <a:lstStyle>
            <a:lvl1pPr>
              <a:lnSpc>
                <a:spcPct val="120000"/>
              </a:lnSpc>
              <a:defRPr sz="1200"/>
            </a:lvl1pPr>
            <a:lvl2pPr>
              <a:lnSpc>
                <a:spcPct val="120000"/>
              </a:lnSpc>
              <a:defRPr sz="1200"/>
            </a:lvl2pPr>
            <a:lvl3pPr>
              <a:lnSpc>
                <a:spcPct val="120000"/>
              </a:lnSpc>
              <a:defRPr sz="1200" b="1" i="0"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defRPr sz="1200"/>
            </a:lvl4pPr>
            <a:lvl5pPr>
              <a:lnSpc>
                <a:spcPct val="120000"/>
              </a:lnSpc>
              <a:defRPr sz="1200"/>
            </a:lvl5pPr>
            <a:lvl6pPr>
              <a:lnSpc>
                <a:spcPct val="120000"/>
              </a:lnSpc>
              <a:defRPr sz="1200" b="1" i="0">
                <a:latin typeface="Century Gothic" panose="020B0502020202020204" pitchFamily="34" charset="0"/>
              </a:defRPr>
            </a:lvl6pPr>
            <a:lvl7pPr>
              <a:lnSpc>
                <a:spcPct val="120000"/>
              </a:lnSpc>
              <a:defRPr sz="1200"/>
            </a:lvl7pPr>
            <a:lvl8pPr>
              <a:lnSpc>
                <a:spcPct val="120000"/>
              </a:lnSpc>
              <a:defRPr sz="1200"/>
            </a:lvl8pPr>
            <a:lvl9pPr>
              <a:lnSpc>
                <a:spcPct val="120000"/>
              </a:lnSpc>
              <a:defRPr sz="12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12" name="Segnaposto testo 3">
            <a:extLst>
              <a:ext uri="{FF2B5EF4-FFF2-40B4-BE49-F238E27FC236}">
                <a16:creationId xmlns:a16="http://schemas.microsoft.com/office/drawing/2014/main" id="{6808AE09-CC53-3E41-A16B-36822A2C95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5" y="568953"/>
            <a:ext cx="8263083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200" b="1">
                <a:solidFill>
                  <a:schemeClr val="tx1"/>
                </a:solidFill>
              </a:defRPr>
            </a:lvl1pPr>
            <a:lvl2pPr algn="l">
              <a:defRPr sz="1200">
                <a:solidFill>
                  <a:schemeClr val="tx1"/>
                </a:solidFill>
              </a:defRPr>
            </a:lvl2pPr>
            <a:lvl3pPr algn="l">
              <a:defRPr sz="1200">
                <a:solidFill>
                  <a:schemeClr val="tx1"/>
                </a:solidFill>
              </a:defRPr>
            </a:lvl3pPr>
            <a:lvl4pPr marL="0" indent="0" algn="l">
              <a:buNone/>
              <a:defRPr sz="1200" b="0">
                <a:solidFill>
                  <a:schemeClr val="tx1"/>
                </a:solidFill>
              </a:defRPr>
            </a:lvl4pPr>
            <a:lvl5pPr marL="135000" indent="0" algn="l">
              <a:buClr>
                <a:schemeClr val="bg1"/>
              </a:buClr>
              <a:buNone/>
              <a:defRPr sz="1200" b="0">
                <a:solidFill>
                  <a:schemeClr val="tx1"/>
                </a:solidFill>
              </a:defRPr>
            </a:lvl5pPr>
            <a:lvl6pPr algn="l">
              <a:defRPr sz="1200" b="1">
                <a:solidFill>
                  <a:schemeClr val="tx1"/>
                </a:solidFill>
              </a:defRPr>
            </a:lvl6pPr>
            <a:lvl7pPr marL="0" indent="0" algn="l">
              <a:buNone/>
              <a:defRPr sz="12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200">
                <a:solidFill>
                  <a:schemeClr val="tx1"/>
                </a:solidFill>
              </a:defRPr>
            </a:lvl8pPr>
            <a:lvl9pPr algn="l">
              <a:defRPr sz="1200" b="1">
                <a:solidFill>
                  <a:schemeClr val="tx1"/>
                </a:solidFill>
              </a:defRPr>
            </a:lvl9pPr>
          </a:lstStyle>
          <a:p>
            <a:pPr lvl="8"/>
            <a:r>
              <a:rPr lang="it-IT"/>
              <a:t>Modifica gli stili del testo dello schema</a:t>
            </a:r>
          </a:p>
        </p:txBody>
      </p:sp>
      <p:sp>
        <p:nvSpPr>
          <p:cNvPr id="9" name="Segnaposto piè di pagina 5">
            <a:extLst>
              <a:ext uri="{FF2B5EF4-FFF2-40B4-BE49-F238E27FC236}">
                <a16:creationId xmlns:a16="http://schemas.microsoft.com/office/drawing/2014/main" id="{B0319D03-3198-554C-BD6E-1259B907D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9" y="6368593"/>
            <a:ext cx="8966199" cy="365125"/>
          </a:xfrm>
        </p:spPr>
        <p:txBody>
          <a:bodyPr/>
          <a:lstStyle/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11" name="Segnaposto numero diapositiva 6">
            <a:extLst>
              <a:ext uri="{FF2B5EF4-FFF2-40B4-BE49-F238E27FC236}">
                <a16:creationId xmlns:a16="http://schemas.microsoft.com/office/drawing/2014/main" id="{FA960D54-B34D-484F-A2AF-1505B5CF5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7" y="6368593"/>
            <a:ext cx="403579" cy="365125"/>
          </a:xfrm>
        </p:spPr>
        <p:txBody>
          <a:bodyPr/>
          <a:lstStyle>
            <a:lvl1pPr>
              <a:defRPr b="1" i="0"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BBEF9631-23C0-4240-8023-923FC137B5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2" y="6288512"/>
            <a:ext cx="877247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0670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>
            <a:extLst>
              <a:ext uri="{FF2B5EF4-FFF2-40B4-BE49-F238E27FC236}">
                <a16:creationId xmlns:a16="http://schemas.microsoft.com/office/drawing/2014/main" id="{11A2B90E-64C3-4746-963D-0F2B67C47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0157" y="692152"/>
            <a:ext cx="8298649" cy="98724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700" b="1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F9060F5-46F0-D140-97D0-2DA3405C5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9" y="6368593"/>
            <a:ext cx="8966199" cy="365125"/>
          </a:xfrm>
        </p:spPr>
        <p:txBody>
          <a:bodyPr/>
          <a:lstStyle/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10" name="Segnaposto numero diapositiva 6">
            <a:extLst>
              <a:ext uri="{FF2B5EF4-FFF2-40B4-BE49-F238E27FC236}">
                <a16:creationId xmlns:a16="http://schemas.microsoft.com/office/drawing/2014/main" id="{52A5AFBD-A006-D043-B68F-4A59430CC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7" y="6368593"/>
            <a:ext cx="403579" cy="365125"/>
          </a:xfrm>
        </p:spPr>
        <p:txBody>
          <a:bodyPr/>
          <a:lstStyle>
            <a:lvl1pPr>
              <a:defRPr b="1" i="0"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95C4E57D-6E09-D14C-BBB0-3F55F193F7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2" y="6288512"/>
            <a:ext cx="877247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8582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Immagine con Didascal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immagine 9">
            <a:extLst>
              <a:ext uri="{FF2B5EF4-FFF2-40B4-BE49-F238E27FC236}">
                <a16:creationId xmlns:a16="http://schemas.microsoft.com/office/drawing/2014/main" id="{9AF8AD17-5B84-F64D-A01A-F60B166270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962400" y="0"/>
            <a:ext cx="8229600" cy="6858000"/>
          </a:xfrm>
          <a:solidFill>
            <a:schemeClr val="tx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Inserisci qua la tua immagine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B0D3203E-FD18-9640-B396-96D72EF9BA06}"/>
              </a:ext>
            </a:extLst>
          </p:cNvPr>
          <p:cNvSpPr/>
          <p:nvPr userDrawn="1"/>
        </p:nvSpPr>
        <p:spPr>
          <a:xfrm>
            <a:off x="0" y="0"/>
            <a:ext cx="3962400" cy="68580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b="1" i="0">
              <a:latin typeface="Century Gothic" panose="020B0502020202020204" pitchFamily="34" charset="0"/>
            </a:endParaRPr>
          </a:p>
        </p:txBody>
      </p:sp>
      <p:sp>
        <p:nvSpPr>
          <p:cNvPr id="7" name="Segnaposto piè di pagina 5">
            <a:extLst>
              <a:ext uri="{FF2B5EF4-FFF2-40B4-BE49-F238E27FC236}">
                <a16:creationId xmlns:a16="http://schemas.microsoft.com/office/drawing/2014/main" id="{A3B4FAAB-2F51-D940-91AD-BF7CB32B6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9" y="6368593"/>
            <a:ext cx="8966199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it-IT">
                <a:latin typeface="Century Gothic" panose="020B0502020202020204" pitchFamily="34" charset="0"/>
              </a:rPr>
              <a:t>Sella </a:t>
            </a:r>
            <a:r>
              <a:rPr lang="it-IT" err="1">
                <a:latin typeface="Century Gothic" panose="020B0502020202020204" pitchFamily="34" charset="0"/>
              </a:rPr>
              <a:t>group</a:t>
            </a:r>
            <a:r>
              <a:rPr lang="it-IT">
                <a:latin typeface="Century Gothic" panose="020B0502020202020204" pitchFamily="34" charset="0"/>
              </a:rPr>
              <a:t> – Corporate </a:t>
            </a:r>
            <a:r>
              <a:rPr lang="it-IT" err="1">
                <a:latin typeface="Century Gothic" panose="020B0502020202020204" pitchFamily="34" charset="0"/>
              </a:rPr>
              <a:t>Profile</a:t>
            </a:r>
            <a:endParaRPr lang="it-IT">
              <a:latin typeface="Century Gothic" panose="020B0502020202020204" pitchFamily="34" charset="0"/>
            </a:endParaRPr>
          </a:p>
        </p:txBody>
      </p:sp>
      <p:sp>
        <p:nvSpPr>
          <p:cNvPr id="8" name="Segnaposto numero diapositiva 6">
            <a:extLst>
              <a:ext uri="{FF2B5EF4-FFF2-40B4-BE49-F238E27FC236}">
                <a16:creationId xmlns:a16="http://schemas.microsoft.com/office/drawing/2014/main" id="{619162CF-2A40-A247-A762-B3A6CDDD8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7" y="6368593"/>
            <a:ext cx="403579" cy="365125"/>
          </a:xfrm>
        </p:spPr>
        <p:txBody>
          <a:bodyPr/>
          <a:lstStyle>
            <a:lvl1pPr>
              <a:defRPr b="1" i="0">
                <a:solidFill>
                  <a:schemeClr val="bg2">
                    <a:lumMod val="9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8DA7AEFB-A901-4B4F-9103-02C10D48AD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2" y="6288512"/>
            <a:ext cx="885703" cy="309030"/>
          </a:xfrm>
          <a:prstGeom prst="rect">
            <a:avLst/>
          </a:prstGeom>
        </p:spPr>
      </p:pic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234D851-E782-E645-AC68-D22059B1F5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736655"/>
            <a:ext cx="2942111" cy="5051499"/>
          </a:xfrm>
        </p:spPr>
        <p:txBody>
          <a:bodyPr/>
          <a:lstStyle>
            <a:lvl1pPr>
              <a:lnSpc>
                <a:spcPct val="120000"/>
              </a:lnSpc>
              <a:defRPr sz="1200"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 sz="1200">
                <a:solidFill>
                  <a:schemeClr val="accent3">
                    <a:lumMod val="40000"/>
                    <a:lumOff val="60000"/>
                  </a:schemeClr>
                </a:solidFill>
              </a:defRPr>
            </a:lvl2pPr>
            <a:lvl3pPr>
              <a:lnSpc>
                <a:spcPct val="120000"/>
              </a:lnSpc>
              <a:spcAft>
                <a:spcPts val="900"/>
              </a:spcAft>
              <a:defRPr sz="1200"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lnSpc>
                <a:spcPct val="120000"/>
              </a:lnSpc>
              <a:buClr>
                <a:schemeClr val="bg2"/>
              </a:buClr>
              <a:defRPr sz="1200">
                <a:solidFill>
                  <a:schemeClr val="bg2"/>
                </a:solidFill>
              </a:defRPr>
            </a:lvl4pPr>
            <a:lvl5pPr>
              <a:lnSpc>
                <a:spcPct val="120000"/>
              </a:lnSpc>
              <a:buClr>
                <a:schemeClr val="bg2"/>
              </a:buClr>
              <a:defRPr sz="1200">
                <a:solidFill>
                  <a:schemeClr val="bg2"/>
                </a:solidFill>
              </a:defRPr>
            </a:lvl5pPr>
            <a:lvl6pPr>
              <a:lnSpc>
                <a:spcPct val="120000"/>
              </a:lnSpc>
              <a:defRPr sz="1200">
                <a:solidFill>
                  <a:schemeClr val="bg1"/>
                </a:solidFill>
              </a:defRPr>
            </a:lvl6pPr>
            <a:lvl7pPr>
              <a:lnSpc>
                <a:spcPct val="120000"/>
              </a:lnSpc>
              <a:buClr>
                <a:schemeClr val="bg2"/>
              </a:buClr>
              <a:defRPr sz="1200">
                <a:solidFill>
                  <a:schemeClr val="bg2"/>
                </a:solidFill>
              </a:defRPr>
            </a:lvl7pPr>
            <a:lvl8pPr>
              <a:lnSpc>
                <a:spcPct val="120000"/>
              </a:lnSpc>
              <a:buClr>
                <a:schemeClr val="bg2"/>
              </a:buClr>
              <a:defRPr sz="1200">
                <a:solidFill>
                  <a:schemeClr val="bg2"/>
                </a:solidFill>
              </a:defRPr>
            </a:lvl8pPr>
            <a:lvl9pPr>
              <a:lnSpc>
                <a:spcPct val="120000"/>
              </a:lnSpc>
              <a:defRPr sz="1200">
                <a:solidFill>
                  <a:schemeClr val="bg2">
                    <a:lumMod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6187712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resentazio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 descr="Immagine che contiene oggetto, pettine&#10;&#10;&#10;&#10;Descrizione generata automaticamente">
            <a:extLst>
              <a:ext uri="{FF2B5EF4-FFF2-40B4-BE49-F238E27FC236}">
                <a16:creationId xmlns:a16="http://schemas.microsoft.com/office/drawing/2014/main" id="{5D2862C9-66A9-814D-B114-72D532D280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8774319-A9C1-9D45-8C42-6DB288A803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1444" y="1642532"/>
            <a:ext cx="6995556" cy="259561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it-IT"/>
              <a:t>Titolo Presentazione</a:t>
            </a:r>
          </a:p>
        </p:txBody>
      </p:sp>
      <p:sp>
        <p:nvSpPr>
          <p:cNvPr id="7" name="Segnaposto testo 3">
            <a:extLst>
              <a:ext uri="{FF2B5EF4-FFF2-40B4-BE49-F238E27FC236}">
                <a16:creationId xmlns:a16="http://schemas.microsoft.com/office/drawing/2014/main" id="{5700410D-1E44-4645-9A39-5484229C8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973667"/>
            <a:ext cx="6995556" cy="506490"/>
          </a:xfrm>
        </p:spPr>
        <p:txBody>
          <a:bodyPr anchor="b" anchorCtr="0"/>
          <a:lstStyle>
            <a:lvl1pPr algn="l">
              <a:defRPr sz="1600">
                <a:solidFill>
                  <a:schemeClr val="bg1"/>
                </a:solidFill>
              </a:defRPr>
            </a:lvl1pPr>
            <a:lvl2pPr algn="l">
              <a:defRPr sz="1600">
                <a:solidFill>
                  <a:schemeClr val="bg1"/>
                </a:solidFill>
              </a:defRPr>
            </a:lvl2pPr>
            <a:lvl3pPr algn="l">
              <a:defRPr sz="1600">
                <a:solidFill>
                  <a:schemeClr val="bg1"/>
                </a:solidFill>
              </a:defRPr>
            </a:lvl3pPr>
            <a:lvl4pPr marL="0" indent="0" algn="l"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5pPr>
            <a:lvl6pPr algn="l">
              <a:defRPr sz="1600" b="0">
                <a:solidFill>
                  <a:schemeClr val="bg1"/>
                </a:solidFill>
              </a:defRPr>
            </a:lvl6pPr>
            <a:lvl7pPr marL="0" indent="0" algn="l">
              <a:defRPr sz="1600">
                <a:solidFill>
                  <a:schemeClr val="bg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8pPr>
            <a:lvl9pPr algn="l"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3E9F8569-52C1-514B-9618-173BE13EE9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1444" y="4428822"/>
            <a:ext cx="6995556" cy="506490"/>
          </a:xfrm>
        </p:spPr>
        <p:txBody>
          <a:bodyPr anchor="t" anchorCtr="0"/>
          <a:lstStyle>
            <a:lvl1pPr algn="l">
              <a:defRPr sz="2000">
                <a:solidFill>
                  <a:schemeClr val="accent3"/>
                </a:solidFill>
              </a:defRPr>
            </a:lvl1pPr>
            <a:lvl2pPr algn="l">
              <a:defRPr sz="2000" b="0">
                <a:solidFill>
                  <a:schemeClr val="bg1"/>
                </a:solidFill>
              </a:defRPr>
            </a:lvl2pPr>
            <a:lvl3pPr algn="l">
              <a:defRPr sz="2000" b="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Clr>
                <a:schemeClr val="bg1"/>
              </a:buClr>
              <a:buNone/>
              <a:defRPr sz="2000">
                <a:solidFill>
                  <a:schemeClr val="bg1"/>
                </a:solidFill>
              </a:defRPr>
            </a:lvl5pPr>
            <a:lvl6pPr algn="l">
              <a:defRPr sz="2000" b="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2000">
                <a:solidFill>
                  <a:schemeClr val="bg1"/>
                </a:solidFill>
              </a:defRPr>
            </a:lvl8pPr>
            <a:lvl9pPr algn="l"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77B198F-4AEF-1A44-83BA-A14FA515CC8B}"/>
              </a:ext>
            </a:extLst>
          </p:cNvPr>
          <p:cNvSpPr txBox="1"/>
          <p:nvPr/>
        </p:nvSpPr>
        <p:spPr>
          <a:xfrm>
            <a:off x="8682273" y="110452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it-IT" sz="1200"/>
          </a:p>
        </p:txBody>
      </p:sp>
      <p:pic>
        <p:nvPicPr>
          <p:cNvPr id="9" name="Immagine 8" descr="Immagine che contiene testo&#10;&#10;&#10;&#10;Descrizione generata automaticamente">
            <a:extLst>
              <a:ext uri="{FF2B5EF4-FFF2-40B4-BE49-F238E27FC236}">
                <a16:creationId xmlns:a16="http://schemas.microsoft.com/office/drawing/2014/main" id="{6999AC9E-840C-D64C-B8F8-6D7C0A0938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1444" y="5459194"/>
            <a:ext cx="1116000" cy="643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0928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titolo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>
            <a:extLst>
              <a:ext uri="{FF2B5EF4-FFF2-40B4-BE49-F238E27FC236}">
                <a16:creationId xmlns:a16="http://schemas.microsoft.com/office/drawing/2014/main" id="{11A2B90E-64C3-4746-963D-0F2B67C47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746" y="198525"/>
            <a:ext cx="10835642" cy="98724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600" b="1">
                <a:solidFill>
                  <a:schemeClr val="tx2"/>
                </a:solidFill>
                <a:latin typeface="Sella Bold" panose="02000503040000020004" pitchFamily="50" charset="0"/>
                <a:ea typeface="Sella Bold" panose="02000503040000020004" pitchFamily="50" charset="0"/>
                <a:cs typeface="Sella Bold" panose="02000503040000020004" pitchFamily="50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F9060F5-46F0-D140-97D0-2DA3405C5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endParaRPr lang="it-IT">
              <a:solidFill>
                <a:srgbClr val="555555">
                  <a:tint val="75000"/>
                </a:srgbClr>
              </a:solidFill>
            </a:endParaRPr>
          </a:p>
        </p:txBody>
      </p:sp>
      <p:sp>
        <p:nvSpPr>
          <p:cNvPr id="10" name="Segnaposto numero diapositiva 6">
            <a:extLst>
              <a:ext uri="{FF2B5EF4-FFF2-40B4-BE49-F238E27FC236}">
                <a16:creationId xmlns:a16="http://schemas.microsoft.com/office/drawing/2014/main" id="{52A5AFBD-A006-D043-B68F-4A59430CC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/>
          <a:p>
            <a:fld id="{EDAA79C4-06C3-BD44-B9A6-7F4B8B549F79}" type="slidenum">
              <a:rPr lang="it-IT" smtClean="0">
                <a:solidFill>
                  <a:srgbClr val="555555">
                    <a:tint val="75000"/>
                  </a:srgbClr>
                </a:solidFill>
              </a:rPr>
              <a:pPr/>
              <a:t>‹N›</a:t>
            </a:fld>
            <a:endParaRPr lang="it-IT">
              <a:solidFill>
                <a:srgbClr val="555555">
                  <a:tint val="75000"/>
                </a:srgbClr>
              </a:solidFill>
            </a:endParaRPr>
          </a:p>
        </p:txBody>
      </p:sp>
      <p:pic>
        <p:nvPicPr>
          <p:cNvPr id="9" name="Immagine 9">
            <a:extLst>
              <a:ext uri="{FF2B5EF4-FFF2-40B4-BE49-F238E27FC236}">
                <a16:creationId xmlns:a16="http://schemas.microsoft.com/office/drawing/2014/main" id="{4920032F-EB0B-4CDE-9419-8D22D630927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83142" y="6277879"/>
            <a:ext cx="877246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7087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apitolo Azzurr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01DB3EAC-8E1F-5645-A42C-B99841D30D9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2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600">
                <a:solidFill>
                  <a:schemeClr val="bg1"/>
                </a:solidFill>
              </a:defRPr>
            </a:lvl1pPr>
            <a:lvl2pPr algn="ctr">
              <a:defRPr sz="1600" b="0">
                <a:solidFill>
                  <a:schemeClr val="bg1"/>
                </a:solidFill>
              </a:defRPr>
            </a:lvl2pPr>
            <a:lvl3pPr algn="ctr">
              <a:defRPr sz="1600" b="0">
                <a:solidFill>
                  <a:schemeClr val="bg1"/>
                </a:solidFill>
              </a:defRPr>
            </a:lvl3pPr>
            <a:lvl4pPr marL="0" indent="0" algn="ctr">
              <a:buNone/>
              <a:defRPr sz="16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5pPr>
            <a:lvl6pPr algn="ctr">
              <a:defRPr sz="1600" b="0">
                <a:solidFill>
                  <a:schemeClr val="bg1"/>
                </a:solidFill>
              </a:defRPr>
            </a:lvl6pPr>
            <a:lvl7pPr marL="0" indent="0" algn="ctr">
              <a:buNone/>
              <a:defRPr sz="16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8pPr>
            <a:lvl9pPr algn="ctr"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4894103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apitolo Bl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01DB3EAC-8E1F-5645-A42C-B99841D30D9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2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600">
                <a:solidFill>
                  <a:schemeClr val="bg1"/>
                </a:solidFill>
              </a:defRPr>
            </a:lvl1pPr>
            <a:lvl2pPr algn="ctr">
              <a:defRPr sz="1600" b="0">
                <a:solidFill>
                  <a:schemeClr val="bg1"/>
                </a:solidFill>
              </a:defRPr>
            </a:lvl2pPr>
            <a:lvl3pPr algn="ctr">
              <a:defRPr sz="1600" b="0">
                <a:solidFill>
                  <a:schemeClr val="bg1"/>
                </a:solidFill>
              </a:defRPr>
            </a:lvl3pPr>
            <a:lvl4pPr marL="0" indent="0" algn="ctr">
              <a:buNone/>
              <a:defRPr sz="16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5pPr>
            <a:lvl6pPr algn="ctr">
              <a:defRPr sz="1600" b="0">
                <a:solidFill>
                  <a:schemeClr val="bg1"/>
                </a:solidFill>
              </a:defRPr>
            </a:lvl6pPr>
            <a:lvl7pPr marL="0" indent="0" algn="ctr">
              <a:buNone/>
              <a:defRPr sz="16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8pPr>
            <a:lvl9pPr algn="ctr"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3101357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apitolo Arancio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01DB3EAC-8E1F-5645-A42C-B99841D30D9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2473999-6863-5A4B-893C-B750FAAA9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632"/>
            <a:ext cx="10515600" cy="2852737"/>
          </a:xfrm>
          <a:prstGeom prst="rect">
            <a:avLst/>
          </a:prstGeom>
        </p:spPr>
        <p:txBody>
          <a:bodyPr anchor="ctr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5" name="Segnaposto testo 3">
            <a:extLst>
              <a:ext uri="{FF2B5EF4-FFF2-40B4-BE49-F238E27FC236}">
                <a16:creationId xmlns:a16="http://schemas.microsoft.com/office/drawing/2014/main" id="{1B7F7209-EE09-0846-A4B8-B3B713EEFD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4997027"/>
            <a:ext cx="10515600" cy="506490"/>
          </a:xfrm>
        </p:spPr>
        <p:txBody>
          <a:bodyPr anchor="t" anchorCtr="0"/>
          <a:lstStyle>
            <a:lvl1pPr algn="l">
              <a:defRPr sz="1600">
                <a:solidFill>
                  <a:schemeClr val="bg1"/>
                </a:solidFill>
              </a:defRPr>
            </a:lvl1pPr>
            <a:lvl2pPr algn="ctr">
              <a:defRPr sz="1600" b="0">
                <a:solidFill>
                  <a:schemeClr val="bg1"/>
                </a:solidFill>
              </a:defRPr>
            </a:lvl2pPr>
            <a:lvl3pPr algn="ctr">
              <a:defRPr sz="1600" b="0">
                <a:solidFill>
                  <a:schemeClr val="bg1"/>
                </a:solidFill>
              </a:defRPr>
            </a:lvl3pPr>
            <a:lvl4pPr marL="0" indent="0" algn="ctr">
              <a:buNone/>
              <a:defRPr sz="1600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5pPr>
            <a:lvl6pPr algn="ctr">
              <a:defRPr sz="1600" b="0">
                <a:solidFill>
                  <a:schemeClr val="bg1"/>
                </a:solidFill>
              </a:defRPr>
            </a:lvl6pPr>
            <a:lvl7pPr marL="0" indent="0" algn="ctr">
              <a:buNone/>
              <a:defRPr sz="1600">
                <a:solidFill>
                  <a:schemeClr val="bg1"/>
                </a:solidFill>
              </a:defRPr>
            </a:lvl7pPr>
            <a:lvl8pPr marL="0" indent="0" algn="ctr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8pPr>
            <a:lvl9pPr algn="ctr"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0693548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0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8280750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spcAft>
                <a:spcPts val="1200"/>
              </a:spcAft>
              <a:defRPr sz="16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/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r>
              <a:rPr lang="it-IT"/>
              <a:t>Sella, Innovativi per tradi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/>
          <a:p>
            <a:fld id="{EDAA79C4-06C3-BD44-B9A6-7F4B8B549F79}" type="slidenum">
              <a:rPr lang="it-IT" smtClean="0"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tx1"/>
                </a:solidFill>
              </a:defRPr>
            </a:lvl1pPr>
            <a:lvl2pPr algn="l">
              <a:defRPr sz="1600" b="0">
                <a:solidFill>
                  <a:schemeClr val="tx1"/>
                </a:solidFill>
              </a:defRPr>
            </a:lvl2pPr>
            <a:lvl3pPr algn="l">
              <a:defRPr sz="1600" b="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0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CF9ED853-8672-294E-94C3-1290BCB1EA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1" y="6091299"/>
            <a:ext cx="878400" cy="506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57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in Evidenza Azzurro">
    <p:bg>
      <p:bgPr>
        <a:solidFill>
          <a:schemeClr val="accent3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0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8280750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spcAft>
                <a:spcPts val="1200"/>
              </a:spcAft>
              <a:defRPr sz="16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/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r>
              <a:rPr lang="it-IT"/>
              <a:t>Sella, Innovativi per tradi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/>
          <a:p>
            <a:fld id="{EDAA79C4-06C3-BD44-B9A6-7F4B8B549F79}" type="slidenum">
              <a:rPr lang="it-IT" smtClean="0"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tx1"/>
                </a:solidFill>
              </a:defRPr>
            </a:lvl1pPr>
            <a:lvl2pPr algn="l">
              <a:defRPr sz="1600" b="0">
                <a:solidFill>
                  <a:schemeClr val="tx1"/>
                </a:solidFill>
              </a:defRPr>
            </a:lvl2pPr>
            <a:lvl3pPr algn="l">
              <a:defRPr sz="1600" b="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0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pic>
        <p:nvPicPr>
          <p:cNvPr id="10" name="Immagine 2" descr="Immagine che contiene oggetto, pettine&#10;&#10;&#10;&#10;Descrizione generata automaticamente">
            <a:extLst>
              <a:ext uri="{FF2B5EF4-FFF2-40B4-BE49-F238E27FC236}">
                <a16:creationId xmlns:a16="http://schemas.microsoft.com/office/drawing/2014/main" id="{90CBCD44-6854-F340-9DC7-04AF5010924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</a:blip>
          <a:srcRect l="49877" t="16877" r="28310"/>
          <a:stretch/>
        </p:blipFill>
        <p:spPr>
          <a:xfrm>
            <a:off x="9532620" y="-1"/>
            <a:ext cx="2659380" cy="5700575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6F397A24-9C01-5A4D-A0FB-A270FEB7B3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17061" y="6091299"/>
            <a:ext cx="878400" cy="506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295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in Evidenza Blu">
    <p:bg>
      <p:bgPr>
        <a:solidFill>
          <a:schemeClr val="accent2">
            <a:lumMod val="20000"/>
            <a:lumOff val="80000"/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0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8280750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spcAft>
                <a:spcPts val="1200"/>
              </a:spcAft>
              <a:defRPr sz="16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/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r>
              <a:rPr lang="it-IT"/>
              <a:t>Sella, Innovativi per tradi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/>
          <a:p>
            <a:fld id="{EDAA79C4-06C3-BD44-B9A6-7F4B8B549F79}" type="slidenum">
              <a:rPr lang="it-IT" smtClean="0"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tx1"/>
                </a:solidFill>
              </a:defRPr>
            </a:lvl1pPr>
            <a:lvl2pPr algn="l">
              <a:defRPr sz="1600" b="0">
                <a:solidFill>
                  <a:schemeClr val="tx1"/>
                </a:solidFill>
              </a:defRPr>
            </a:lvl2pPr>
            <a:lvl3pPr algn="l">
              <a:defRPr sz="1600" b="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0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pic>
        <p:nvPicPr>
          <p:cNvPr id="10" name="Immagine 2" descr="Immagine che contiene oggetto, pettine&#10;&#10;&#10;&#10;Descrizione generata automaticamente">
            <a:extLst>
              <a:ext uri="{FF2B5EF4-FFF2-40B4-BE49-F238E27FC236}">
                <a16:creationId xmlns:a16="http://schemas.microsoft.com/office/drawing/2014/main" id="{90CBCD44-6854-F340-9DC7-04AF5010924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49877" r="28310"/>
          <a:stretch/>
        </p:blipFill>
        <p:spPr>
          <a:xfrm>
            <a:off x="9532620" y="-1157425"/>
            <a:ext cx="2659380" cy="6858000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EF0544F3-74C1-B34D-B938-7F19DCD6537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217061" y="6091299"/>
            <a:ext cx="878400" cy="506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8735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in Evidenza Arancione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0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8280750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spcAft>
                <a:spcPts val="1200"/>
              </a:spcAft>
              <a:defRPr sz="16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/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r>
              <a:rPr lang="it-IT"/>
              <a:t>Sella, Innovativi per tradi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/>
          <a:p>
            <a:fld id="{EDAA79C4-06C3-BD44-B9A6-7F4B8B549F79}" type="slidenum">
              <a:rPr lang="it-IT" smtClean="0"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tx1"/>
                </a:solidFill>
              </a:defRPr>
            </a:lvl1pPr>
            <a:lvl2pPr algn="l">
              <a:defRPr sz="1600" b="0">
                <a:solidFill>
                  <a:schemeClr val="tx1"/>
                </a:solidFill>
              </a:defRPr>
            </a:lvl2pPr>
            <a:lvl3pPr algn="l">
              <a:defRPr sz="1600" b="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0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pic>
        <p:nvPicPr>
          <p:cNvPr id="10" name="Immagine 2" descr="Immagine che contiene oggetto, pettine&#10;&#10;&#10;&#10;Descrizione generata automaticamente">
            <a:extLst>
              <a:ext uri="{FF2B5EF4-FFF2-40B4-BE49-F238E27FC236}">
                <a16:creationId xmlns:a16="http://schemas.microsoft.com/office/drawing/2014/main" id="{90CBCD44-6854-F340-9DC7-04AF5010924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49877" r="28310"/>
          <a:stretch/>
        </p:blipFill>
        <p:spPr>
          <a:xfrm>
            <a:off x="9532620" y="-1157425"/>
            <a:ext cx="2659380" cy="6858000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26F2370E-733F-4F42-832B-82DFAEAE533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217061" y="6091299"/>
            <a:ext cx="878400" cy="506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878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Negativ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50" cy="10246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8280750" cy="3299707"/>
          </a:xfrm>
        </p:spPr>
        <p:txBody>
          <a:bodyPr/>
          <a:lstStyle>
            <a:lvl1pPr>
              <a:lnSpc>
                <a:spcPct val="120000"/>
              </a:lnSpc>
              <a:defRPr sz="1600"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 sz="1600">
                <a:solidFill>
                  <a:schemeClr val="bg1"/>
                </a:solidFill>
              </a:defRPr>
            </a:lvl2pPr>
            <a:lvl3pPr>
              <a:lnSpc>
                <a:spcPct val="120000"/>
              </a:lnSpc>
              <a:spcAft>
                <a:spcPts val="1200"/>
              </a:spcAft>
              <a:defRPr sz="16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4pPr>
            <a:lvl5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5pPr>
            <a:lvl6pPr>
              <a:lnSpc>
                <a:spcPct val="120000"/>
              </a:lnSpc>
              <a:defRPr sz="1600">
                <a:solidFill>
                  <a:schemeClr val="bg1"/>
                </a:solidFill>
              </a:defRPr>
            </a:lvl6pPr>
            <a:lvl7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7pPr>
            <a:lvl8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8pPr>
            <a:lvl9pPr>
              <a:lnSpc>
                <a:spcPct val="120000"/>
              </a:lnSpc>
              <a:defRPr sz="1600">
                <a:solidFill>
                  <a:schemeClr val="bg2">
                    <a:lumMod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4145BC5-1767-7F48-89F0-0E2678637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it-IT"/>
              <a:t>Sella, Innovativi per tradi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001A51D-7340-B947-9C3C-B81FC93C1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9D53A722-1F0F-4A40-9EDA-1ACB8BC71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4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bg2">
                    <a:lumMod val="75000"/>
                  </a:schemeClr>
                </a:solidFill>
              </a:defRPr>
            </a:lvl1pPr>
            <a:lvl2pPr algn="l">
              <a:defRPr sz="1600" b="0">
                <a:solidFill>
                  <a:schemeClr val="tx1"/>
                </a:solidFill>
              </a:defRPr>
            </a:lvl2pPr>
            <a:lvl3pPr algn="l">
              <a:defRPr sz="1600" b="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0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pic>
        <p:nvPicPr>
          <p:cNvPr id="8" name="Immagine 7" descr="Immagine che contiene testo&#10;&#10;&#10;&#10;Descrizione generata automaticamente">
            <a:extLst>
              <a:ext uri="{FF2B5EF4-FFF2-40B4-BE49-F238E27FC236}">
                <a16:creationId xmlns:a16="http://schemas.microsoft.com/office/drawing/2014/main" id="{209EAA43-D4AC-BD47-963D-D35C95E910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93866" y="6091299"/>
            <a:ext cx="878400" cy="506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214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oppia Colon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30284C-84B0-3A4C-BF2F-CDC76438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1238955"/>
            <a:ext cx="8280749" cy="1024644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67E51AE-2F6C-E046-9F4C-1D6B6527B4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2427111"/>
            <a:ext cx="4625622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defRPr sz="16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/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5B5E5292-2915-6F4F-BD1A-41026E9998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68245" y="2427111"/>
            <a:ext cx="4625622" cy="3299707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defRPr sz="16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lnSpc>
                <a:spcPct val="120000"/>
              </a:lnSpc>
              <a:defRPr sz="1600"/>
            </a:lvl6pPr>
            <a:lvl7pPr>
              <a:lnSpc>
                <a:spcPct val="120000"/>
              </a:lnSpc>
              <a:defRPr sz="1600"/>
            </a:lvl7pPr>
            <a:lvl8pPr>
              <a:lnSpc>
                <a:spcPct val="120000"/>
              </a:lnSpc>
              <a:defRPr sz="1600"/>
            </a:lvl8pPr>
            <a:lvl9pPr>
              <a:lnSpc>
                <a:spcPct val="120000"/>
              </a:lnSpc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2" name="Segnaposto testo 3">
            <a:extLst>
              <a:ext uri="{FF2B5EF4-FFF2-40B4-BE49-F238E27FC236}">
                <a16:creationId xmlns:a16="http://schemas.microsoft.com/office/drawing/2014/main" id="{6808AE09-CC53-3E41-A16B-36822A2C95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1444" y="568953"/>
            <a:ext cx="8263083" cy="506490"/>
          </a:xfrm>
        </p:spPr>
        <p:txBody>
          <a:bodyPr anchor="b" anchorCtr="0"/>
          <a:lstStyle>
            <a:lvl1pPr algn="l">
              <a:lnSpc>
                <a:spcPct val="120000"/>
              </a:lnSpc>
              <a:defRPr sz="1600" b="1">
                <a:solidFill>
                  <a:schemeClr val="tx1"/>
                </a:solidFill>
              </a:defRPr>
            </a:lvl1pPr>
            <a:lvl2pPr algn="l">
              <a:defRPr sz="1600">
                <a:solidFill>
                  <a:schemeClr val="tx1"/>
                </a:solidFill>
              </a:defRPr>
            </a:lvl2pPr>
            <a:lvl3pPr algn="l"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 b="0">
                <a:solidFill>
                  <a:schemeClr val="tx1"/>
                </a:solidFill>
              </a:defRPr>
            </a:lvl4pPr>
            <a:lvl5pPr marL="180000" indent="0" algn="l">
              <a:buClr>
                <a:schemeClr val="bg1"/>
              </a:buClr>
              <a:buNone/>
              <a:defRPr sz="1600" b="0">
                <a:solidFill>
                  <a:schemeClr val="tx1"/>
                </a:solidFill>
              </a:defRPr>
            </a:lvl5pPr>
            <a:lvl6pPr algn="l">
              <a:defRPr sz="1600" b="1">
                <a:solidFill>
                  <a:schemeClr val="tx1"/>
                </a:solidFill>
              </a:defRPr>
            </a:lvl6pPr>
            <a:lvl7pPr marL="0" indent="0" algn="l"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8pPr>
            <a:lvl9pPr algn="l"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9" name="Segnaposto piè di pagina 5">
            <a:extLst>
              <a:ext uri="{FF2B5EF4-FFF2-40B4-BE49-F238E27FC236}">
                <a16:creationId xmlns:a16="http://schemas.microsoft.com/office/drawing/2014/main" id="{B0319D03-3198-554C-BD6E-1259B907D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r>
              <a:rPr lang="it-IT"/>
              <a:t>Sella, Innovativi per tradizione</a:t>
            </a:r>
          </a:p>
        </p:txBody>
      </p:sp>
      <p:sp>
        <p:nvSpPr>
          <p:cNvPr id="11" name="Segnaposto numero diapositiva 6">
            <a:extLst>
              <a:ext uri="{FF2B5EF4-FFF2-40B4-BE49-F238E27FC236}">
                <a16:creationId xmlns:a16="http://schemas.microsoft.com/office/drawing/2014/main" id="{FA960D54-B34D-484F-A2AF-1505B5CF5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/>
          <a:p>
            <a:fld id="{EDAA79C4-06C3-BD44-B9A6-7F4B8B549F79}" type="slidenum">
              <a:rPr lang="it-IT" smtClean="0"/>
              <a:t>‹N›</a:t>
            </a:fld>
            <a:endParaRPr lang="it-IT"/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34867A7D-6BE1-A247-A7AA-6634B1985A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1" y="6091299"/>
            <a:ext cx="878400" cy="506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45850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>
            <a:extLst>
              <a:ext uri="{FF2B5EF4-FFF2-40B4-BE49-F238E27FC236}">
                <a16:creationId xmlns:a16="http://schemas.microsoft.com/office/drawing/2014/main" id="{11A2B90E-64C3-4746-963D-0F2B67C47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0155" y="692150"/>
            <a:ext cx="8298649" cy="98724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600" b="1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F9060F5-46F0-D140-97D0-2DA3405C5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r>
              <a:rPr lang="it-IT"/>
              <a:t>Sella, Innovativi per tradizione</a:t>
            </a:r>
          </a:p>
        </p:txBody>
      </p:sp>
      <p:sp>
        <p:nvSpPr>
          <p:cNvPr id="10" name="Segnaposto numero diapositiva 6">
            <a:extLst>
              <a:ext uri="{FF2B5EF4-FFF2-40B4-BE49-F238E27FC236}">
                <a16:creationId xmlns:a16="http://schemas.microsoft.com/office/drawing/2014/main" id="{52A5AFBD-A006-D043-B68F-4A59430CC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/>
          <a:p>
            <a:fld id="{EDAA79C4-06C3-BD44-B9A6-7F4B8B549F79}" type="slidenum">
              <a:rPr lang="it-IT" smtClean="0"/>
              <a:t>‹N›</a:t>
            </a:fld>
            <a:endParaRPr lang="it-IT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FC7D226D-3CB1-9B42-A528-2B8849819E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1" y="6091299"/>
            <a:ext cx="878400" cy="50624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3FCA4C1-6F13-4A78-A9D3-A5E03E715E50}"/>
              </a:ext>
            </a:extLst>
          </p:cNvPr>
          <p:cNvSpPr txBox="1"/>
          <p:nvPr userDrawn="1"/>
        </p:nvSpPr>
        <p:spPr>
          <a:xfrm>
            <a:off x="5172075" y="6457017"/>
            <a:ext cx="2266950" cy="28104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it-IT" sz="1200" b="1">
                <a:solidFill>
                  <a:srgbClr val="FF0000"/>
                </a:solidFill>
              </a:rPr>
              <a:t>Documento Riservato</a:t>
            </a:r>
          </a:p>
        </p:txBody>
      </p:sp>
    </p:spTree>
    <p:extLst>
      <p:ext uri="{BB962C8B-B14F-4D97-AF65-F5344CB8AC3E}">
        <p14:creationId xmlns:p14="http://schemas.microsoft.com/office/powerpoint/2010/main" val="4982999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5">
            <a:extLst>
              <a:ext uri="{FF2B5EF4-FFF2-40B4-BE49-F238E27FC236}">
                <a16:creationId xmlns:a16="http://schemas.microsoft.com/office/drawing/2014/main" id="{DE7AFA3C-7EAC-4E4F-81AD-9724B0288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endParaRPr lang="it-IT">
              <a:solidFill>
                <a:srgbClr val="555555">
                  <a:tint val="75000"/>
                </a:srgbClr>
              </a:solidFill>
            </a:endParaRPr>
          </a:p>
        </p:txBody>
      </p:sp>
      <p:sp>
        <p:nvSpPr>
          <p:cNvPr id="8" name="Segnaposto numero diapositiva 6">
            <a:extLst>
              <a:ext uri="{FF2B5EF4-FFF2-40B4-BE49-F238E27FC236}">
                <a16:creationId xmlns:a16="http://schemas.microsoft.com/office/drawing/2014/main" id="{B6FA95BD-C53B-5547-986F-60D29C4B6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/>
          <a:p>
            <a:fld id="{EDAA79C4-06C3-BD44-B9A6-7F4B8B549F79}" type="slidenum">
              <a:rPr lang="it-IT" smtClean="0">
                <a:solidFill>
                  <a:srgbClr val="555555">
                    <a:tint val="75000"/>
                  </a:srgbClr>
                </a:solidFill>
              </a:rPr>
              <a:pPr/>
              <a:t>‹N›</a:t>
            </a:fld>
            <a:endParaRPr lang="it-IT">
              <a:solidFill>
                <a:srgbClr val="555555">
                  <a:tint val="75000"/>
                </a:srgbClr>
              </a:solidFill>
            </a:endParaRPr>
          </a:p>
        </p:txBody>
      </p:sp>
      <p:pic>
        <p:nvPicPr>
          <p:cNvPr id="7" name="Immagine 9">
            <a:extLst>
              <a:ext uri="{FF2B5EF4-FFF2-40B4-BE49-F238E27FC236}">
                <a16:creationId xmlns:a16="http://schemas.microsoft.com/office/drawing/2014/main" id="{53BFC504-B2BE-4210-8EC9-BD1530ECCA4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83142" y="6277879"/>
            <a:ext cx="877246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27396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5">
            <a:extLst>
              <a:ext uri="{FF2B5EF4-FFF2-40B4-BE49-F238E27FC236}">
                <a16:creationId xmlns:a16="http://schemas.microsoft.com/office/drawing/2014/main" id="{DE7AFA3C-7EAC-4E4F-81AD-9724B0288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/>
          <a:p>
            <a:r>
              <a:rPr lang="it-IT"/>
              <a:t>Sella, Innovativi per tradizione</a:t>
            </a:r>
          </a:p>
        </p:txBody>
      </p:sp>
      <p:sp>
        <p:nvSpPr>
          <p:cNvPr id="8" name="Segnaposto numero diapositiva 6">
            <a:extLst>
              <a:ext uri="{FF2B5EF4-FFF2-40B4-BE49-F238E27FC236}">
                <a16:creationId xmlns:a16="http://schemas.microsoft.com/office/drawing/2014/main" id="{B6FA95BD-C53B-5547-986F-60D29C4B6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/>
          <a:p>
            <a:fld id="{EDAA79C4-06C3-BD44-B9A6-7F4B8B549F79}" type="slidenum">
              <a:rPr lang="it-IT" smtClean="0"/>
              <a:t>‹N›</a:t>
            </a:fld>
            <a:endParaRPr lang="it-IT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AD29C388-132B-544D-91D4-CFD59C9BF3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7061" y="6091299"/>
            <a:ext cx="878400" cy="5062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7C25BD4-F3BF-4D97-939F-45A3B11A0404}"/>
              </a:ext>
            </a:extLst>
          </p:cNvPr>
          <p:cNvSpPr txBox="1"/>
          <p:nvPr userDrawn="1"/>
        </p:nvSpPr>
        <p:spPr>
          <a:xfrm>
            <a:off x="5172075" y="6457017"/>
            <a:ext cx="2266950" cy="28104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it-IT" sz="1200" b="1">
                <a:solidFill>
                  <a:srgbClr val="FF0000"/>
                </a:solidFill>
              </a:rPr>
              <a:t>Documento Riservato</a:t>
            </a:r>
          </a:p>
        </p:txBody>
      </p:sp>
    </p:spTree>
    <p:extLst>
      <p:ext uri="{BB962C8B-B14F-4D97-AF65-F5344CB8AC3E}">
        <p14:creationId xmlns:p14="http://schemas.microsoft.com/office/powerpoint/2010/main" val="405209590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con Didascal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immagine 9">
            <a:extLst>
              <a:ext uri="{FF2B5EF4-FFF2-40B4-BE49-F238E27FC236}">
                <a16:creationId xmlns:a16="http://schemas.microsoft.com/office/drawing/2014/main" id="{9AF8AD17-5B84-F64D-A01A-F60B166270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962400" y="0"/>
            <a:ext cx="8229600" cy="6858000"/>
          </a:xfrm>
          <a:solidFill>
            <a:schemeClr val="tx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Inserisci qua la tua immagine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B0D3203E-FD18-9640-B396-96D72EF9BA06}"/>
              </a:ext>
            </a:extLst>
          </p:cNvPr>
          <p:cNvSpPr/>
          <p:nvPr userDrawn="1"/>
        </p:nvSpPr>
        <p:spPr>
          <a:xfrm>
            <a:off x="0" y="0"/>
            <a:ext cx="3962400" cy="68580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Segnaposto piè di pagina 5">
            <a:extLst>
              <a:ext uri="{FF2B5EF4-FFF2-40B4-BE49-F238E27FC236}">
                <a16:creationId xmlns:a16="http://schemas.microsoft.com/office/drawing/2014/main" id="{A3B4FAAB-2F51-D940-91AD-BF7CB32B6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it-IT"/>
              <a:t>Sella, Innovativi per tradizione</a:t>
            </a:r>
          </a:p>
        </p:txBody>
      </p:sp>
      <p:sp>
        <p:nvSpPr>
          <p:cNvPr id="8" name="Segnaposto numero diapositiva 6">
            <a:extLst>
              <a:ext uri="{FF2B5EF4-FFF2-40B4-BE49-F238E27FC236}">
                <a16:creationId xmlns:a16="http://schemas.microsoft.com/office/drawing/2014/main" id="{619162CF-2A40-A247-A762-B3A6CDDD8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234D851-E782-E645-AC68-D22059B1F5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736653"/>
            <a:ext cx="2942110" cy="5051499"/>
          </a:xfrm>
        </p:spPr>
        <p:txBody>
          <a:bodyPr/>
          <a:lstStyle>
            <a:lvl1pPr>
              <a:lnSpc>
                <a:spcPct val="120000"/>
              </a:lnSpc>
              <a:defRPr sz="1600"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 sz="1600">
                <a:solidFill>
                  <a:schemeClr val="accent3">
                    <a:lumMod val="40000"/>
                    <a:lumOff val="60000"/>
                  </a:schemeClr>
                </a:solidFill>
              </a:defRPr>
            </a:lvl2pPr>
            <a:lvl3pPr>
              <a:lnSpc>
                <a:spcPct val="120000"/>
              </a:lnSpc>
              <a:spcAft>
                <a:spcPts val="1200"/>
              </a:spcAft>
              <a:defRPr sz="16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4pPr>
            <a:lvl5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5pPr>
            <a:lvl6pPr>
              <a:lnSpc>
                <a:spcPct val="120000"/>
              </a:lnSpc>
              <a:defRPr sz="1600">
                <a:solidFill>
                  <a:schemeClr val="bg1"/>
                </a:solidFill>
              </a:defRPr>
            </a:lvl6pPr>
            <a:lvl7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7pPr>
            <a:lvl8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8pPr>
            <a:lvl9pPr>
              <a:lnSpc>
                <a:spcPct val="120000"/>
              </a:lnSpc>
              <a:defRPr sz="1600">
                <a:solidFill>
                  <a:schemeClr val="bg2">
                    <a:lumMod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9" name="Immagine 8" descr="Immagine che contiene testo&#10;&#10;&#10;&#10;Descrizione generata automaticamente">
            <a:extLst>
              <a:ext uri="{FF2B5EF4-FFF2-40B4-BE49-F238E27FC236}">
                <a16:creationId xmlns:a16="http://schemas.microsoft.com/office/drawing/2014/main" id="{44798974-93F4-DC45-9E4E-44683764AB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93866" y="6091299"/>
            <a:ext cx="878400" cy="506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34314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iusur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 descr="Immagine che contiene oggetto, pettine&#10;&#10;&#10;&#10;Descrizione generata automaticamente">
            <a:extLst>
              <a:ext uri="{FF2B5EF4-FFF2-40B4-BE49-F238E27FC236}">
                <a16:creationId xmlns:a16="http://schemas.microsoft.com/office/drawing/2014/main" id="{C0E98C66-813A-8344-B494-546FF7587D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399"/>
          <a:stretch/>
        </p:blipFill>
        <p:spPr>
          <a:xfrm>
            <a:off x="1145822" y="0"/>
            <a:ext cx="11046178" cy="6858000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299FCB02-79D3-F049-A07F-3A50B1F6043A}"/>
              </a:ext>
            </a:extLst>
          </p:cNvPr>
          <p:cNvSpPr txBox="1"/>
          <p:nvPr/>
        </p:nvSpPr>
        <p:spPr>
          <a:xfrm>
            <a:off x="4950178" y="5973429"/>
            <a:ext cx="22916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200" b="1" err="1">
                <a:solidFill>
                  <a:schemeClr val="bg1"/>
                </a:solidFill>
              </a:rPr>
              <a:t>sella.it</a:t>
            </a:r>
            <a:endParaRPr lang="it-IT" sz="1200" b="1">
              <a:solidFill>
                <a:schemeClr val="bg1"/>
              </a:solidFill>
            </a:endParaRPr>
          </a:p>
        </p:txBody>
      </p:sp>
      <p:pic>
        <p:nvPicPr>
          <p:cNvPr id="5" name="Immagine 4" descr="Immagine che contiene testo&#10;&#10;&#10;&#10;Descrizione generata automaticamente">
            <a:extLst>
              <a:ext uri="{FF2B5EF4-FFF2-40B4-BE49-F238E27FC236}">
                <a16:creationId xmlns:a16="http://schemas.microsoft.com/office/drawing/2014/main" id="{64469C61-3F78-E24B-AC3B-39F81DAF8A4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568" y="3076575"/>
            <a:ext cx="2001600" cy="1153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85548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29D9F2-7F69-4461-81EA-D73EC16990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3218B7-49E0-4404-BEBB-80F28E9F13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7DA1F3-7AB9-476B-A69A-DF4746C399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F3C81-A739-4953-8D38-8B67556FFA08}" type="datetimeFigureOut">
              <a:rPr lang="it-IT" smtClean="0"/>
              <a:t>27/04/26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FF58F8-F38C-40F9-A114-EAE89A396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1653A0-E2C4-4549-BBB6-5239E0BC6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DB7643-4192-4661-86E4-52CE4E0C466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4049508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Presentazione">
    <p:bg>
      <p:bgPr>
        <a:gradFill flip="none" rotWithShape="1">
          <a:gsLst>
            <a:gs pos="0">
              <a:schemeClr val="accent3"/>
            </a:gs>
            <a:gs pos="50000">
              <a:schemeClr val="tx2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11" descr="Immagine che contiene oggetto&#10;&#10;&#10;&#10;Descrizione generata automaticamente">
            <a:extLst>
              <a:ext uri="{FF2B5EF4-FFF2-40B4-BE49-F238E27FC236}">
                <a16:creationId xmlns:a16="http://schemas.microsoft.com/office/drawing/2014/main" id="{4A529BB1-F96E-474D-BBFC-7E519DD7FA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377B198F-4AEF-1A44-83BA-A14FA515CC8B}"/>
              </a:ext>
            </a:extLst>
          </p:cNvPr>
          <p:cNvSpPr txBox="1"/>
          <p:nvPr userDrawn="1"/>
        </p:nvSpPr>
        <p:spPr>
          <a:xfrm>
            <a:off x="8682273" y="110452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it-IT" sz="1200" b="1" i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4884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con Didascalia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immagine 9">
            <a:extLst>
              <a:ext uri="{FF2B5EF4-FFF2-40B4-BE49-F238E27FC236}">
                <a16:creationId xmlns:a16="http://schemas.microsoft.com/office/drawing/2014/main" id="{9AF8AD17-5B84-F64D-A01A-F60B166270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962400" y="0"/>
            <a:ext cx="8229600" cy="6858000"/>
          </a:xfrm>
          <a:solidFill>
            <a:schemeClr val="tx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Inserisci qua la tua immagine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B0D3203E-FD18-9640-B396-96D72EF9BA06}"/>
              </a:ext>
            </a:extLst>
          </p:cNvPr>
          <p:cNvSpPr/>
          <p:nvPr userDrawn="1"/>
        </p:nvSpPr>
        <p:spPr>
          <a:xfrm>
            <a:off x="0" y="0"/>
            <a:ext cx="3962400" cy="68580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sp>
        <p:nvSpPr>
          <p:cNvPr id="7" name="Segnaposto piè di pagina 5">
            <a:extLst>
              <a:ext uri="{FF2B5EF4-FFF2-40B4-BE49-F238E27FC236}">
                <a16:creationId xmlns:a16="http://schemas.microsoft.com/office/drawing/2014/main" id="{A3B4FAAB-2F51-D940-91AD-BF7CB32B6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27667" y="6368591"/>
            <a:ext cx="8966199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endParaRPr lang="it-IT">
              <a:solidFill>
                <a:srgbClr val="E7E6E6">
                  <a:lumMod val="90000"/>
                </a:srgbClr>
              </a:solidFill>
            </a:endParaRPr>
          </a:p>
        </p:txBody>
      </p:sp>
      <p:sp>
        <p:nvSpPr>
          <p:cNvPr id="8" name="Segnaposto numero diapositiva 6">
            <a:extLst>
              <a:ext uri="{FF2B5EF4-FFF2-40B4-BE49-F238E27FC236}">
                <a16:creationId xmlns:a16="http://schemas.microsoft.com/office/drawing/2014/main" id="{619162CF-2A40-A247-A762-B3A6CDDD8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3778" y="6368591"/>
            <a:ext cx="403578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EDAA79C4-06C3-BD44-B9A6-7F4B8B549F79}" type="slidenum">
              <a:rPr lang="it-IT" smtClean="0">
                <a:solidFill>
                  <a:srgbClr val="E7E6E6">
                    <a:lumMod val="90000"/>
                  </a:srgbClr>
                </a:solidFill>
              </a:rPr>
              <a:pPr/>
              <a:t>‹N›</a:t>
            </a:fld>
            <a:endParaRPr lang="it-IT">
              <a:solidFill>
                <a:srgbClr val="E7E6E6">
                  <a:lumMod val="90000"/>
                </a:srgbClr>
              </a:solidFill>
            </a:endParaRP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234D851-E782-E645-AC68-D22059B1F5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3778" y="736653"/>
            <a:ext cx="2942110" cy="5051499"/>
          </a:xfrm>
        </p:spPr>
        <p:txBody>
          <a:bodyPr/>
          <a:lstStyle>
            <a:lvl1pPr>
              <a:lnSpc>
                <a:spcPct val="120000"/>
              </a:lnSpc>
              <a:defRPr sz="1600"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 sz="1600">
                <a:solidFill>
                  <a:schemeClr val="accent3">
                    <a:lumMod val="40000"/>
                    <a:lumOff val="60000"/>
                  </a:schemeClr>
                </a:solidFill>
              </a:defRPr>
            </a:lvl2pPr>
            <a:lvl3pPr>
              <a:lnSpc>
                <a:spcPct val="120000"/>
              </a:lnSpc>
              <a:spcAft>
                <a:spcPts val="1200"/>
              </a:spcAft>
              <a:defRPr sz="16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4pPr>
            <a:lvl5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5pPr>
            <a:lvl6pPr>
              <a:lnSpc>
                <a:spcPct val="120000"/>
              </a:lnSpc>
              <a:defRPr sz="1600">
                <a:solidFill>
                  <a:schemeClr val="bg1"/>
                </a:solidFill>
              </a:defRPr>
            </a:lvl6pPr>
            <a:lvl7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7pPr>
            <a:lvl8pPr>
              <a:lnSpc>
                <a:spcPct val="120000"/>
              </a:lnSpc>
              <a:buClr>
                <a:schemeClr val="bg2"/>
              </a:buClr>
              <a:defRPr sz="1600">
                <a:solidFill>
                  <a:schemeClr val="bg2"/>
                </a:solidFill>
              </a:defRPr>
            </a:lvl8pPr>
            <a:lvl9pPr>
              <a:lnSpc>
                <a:spcPct val="120000"/>
              </a:lnSpc>
              <a:defRPr sz="1600">
                <a:solidFill>
                  <a:schemeClr val="bg2">
                    <a:lumMod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9" name="Immagine 11">
            <a:extLst>
              <a:ext uri="{FF2B5EF4-FFF2-40B4-BE49-F238E27FC236}">
                <a16:creationId xmlns:a16="http://schemas.microsoft.com/office/drawing/2014/main" id="{79B1E941-1C38-4E25-AF6F-4B711E28B87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36038" y="6288512"/>
            <a:ext cx="885703" cy="3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41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iusura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6807C876-0F5A-D344-A28B-A46C6B3263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05202" y="2886892"/>
            <a:ext cx="2981595" cy="1084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80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60" imgH="360" progId="TCLayout.ActiveDocument.1">
                  <p:embed/>
                </p:oleObj>
              </mc:Choice>
              <mc:Fallback>
                <p:oleObj name="Diapositiva think-cell" r:id="rId3" imgW="360" imgH="360" progId="TCLayout.ActiveDocument.1">
                  <p:embed/>
                  <p:pic>
                    <p:nvPicPr>
                      <p:cNvPr id="3" name="Ogget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635000" y="542925"/>
            <a:ext cx="11726863" cy="6288088"/>
            <a:chOff x="294" y="335"/>
            <a:chExt cx="5429" cy="3882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94" y="335"/>
              <a:ext cx="5429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fld id="{DCC6934B-A880-4180-B886-8F9E333F1A40}" type="slidenum">
                <a:rPr lang="it-IT" sz="1500" smtClean="0">
                  <a:solidFill>
                    <a:srgbClr val="000000"/>
                  </a:solidFill>
                </a:rPr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t>‹N›</a:t>
              </a:fld>
              <a:endParaRPr lang="it-IT" sz="1500">
                <a:solidFill>
                  <a:srgbClr val="000000"/>
                </a:solidFill>
              </a:endParaRPr>
            </a:p>
          </p:txBody>
        </p:sp>
        <p:sp>
          <p:nvSpPr>
            <p:cNvPr id="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296" y="4112"/>
              <a:ext cx="5145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585788" indent="-585788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 sz="1100">
                <a:solidFill>
                  <a:srgbClr val="000000"/>
                </a:solidFill>
              </a:endParaRPr>
            </a:p>
          </p:txBody>
        </p:sp>
      </p:grpSp>
      <p:pic>
        <p:nvPicPr>
          <p:cNvPr id="8" name="Immagin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625" y="249238"/>
            <a:ext cx="1673225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Connettore 1 11"/>
          <p:cNvCxnSpPr/>
          <p:nvPr userDrawn="1"/>
        </p:nvCxnSpPr>
        <p:spPr>
          <a:xfrm>
            <a:off x="0" y="6357938"/>
            <a:ext cx="12192000" cy="0"/>
          </a:xfrm>
          <a:prstGeom prst="line">
            <a:avLst/>
          </a:prstGeom>
          <a:ln>
            <a:solidFill>
              <a:srgbClr val="0033CC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Connettore 1 12"/>
          <p:cNvCxnSpPr/>
          <p:nvPr userDrawn="1"/>
        </p:nvCxnSpPr>
        <p:spPr>
          <a:xfrm>
            <a:off x="2546350" y="836613"/>
            <a:ext cx="9467850" cy="0"/>
          </a:xfrm>
          <a:prstGeom prst="line">
            <a:avLst/>
          </a:prstGeom>
          <a:ln w="76200">
            <a:solidFill>
              <a:srgbClr val="0033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6075" y="6426200"/>
            <a:ext cx="6699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540415" y="303394"/>
            <a:ext cx="9456012" cy="491316"/>
          </a:xfrm>
          <a:prstGeom prst="rect">
            <a:avLst/>
          </a:prstGeom>
          <a:noFill/>
          <a:ln>
            <a:noFill/>
          </a:ln>
        </p:spPr>
        <p:txBody>
          <a:bodyPr anchor="b"/>
          <a:lstStyle>
            <a:lvl1pPr algn="r">
              <a:defRPr sz="2400" b="0">
                <a:solidFill>
                  <a:srgbClr val="0033CC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2312280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0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4F58EF38-B0D9-BB4C-9F41-0BBBB1849A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692150"/>
            <a:ext cx="10620022" cy="9985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22D0BFF-8C6C-DF44-97AB-DCF86F7AA3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3778" y="1825625"/>
            <a:ext cx="10620022" cy="39204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9D5D4BB-EB68-A745-A10A-6CA17DF5C3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667" y="6245930"/>
            <a:ext cx="1012613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it-IT">
                <a:solidFill>
                  <a:srgbClr val="555555">
                    <a:tint val="75000"/>
                  </a:srgbClr>
                </a:solidFill>
              </a:rPr>
              <a:t>Sella, Innovativi per tradi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24EE91E-38A1-394C-8EA8-29454459C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3778" y="6245930"/>
            <a:ext cx="40357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AA79C4-06C3-BD44-B9A6-7F4B8B549F79}" type="slidenum">
              <a:rPr lang="it-IT" smtClean="0">
                <a:solidFill>
                  <a:srgbClr val="555555">
                    <a:tint val="75000"/>
                  </a:srgbClr>
                </a:solidFill>
              </a:rPr>
              <a:pPr/>
              <a:t>‹N›</a:t>
            </a:fld>
            <a:endParaRPr lang="it-IT">
              <a:solidFill>
                <a:srgbClr val="55555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241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21" r:id="rId12"/>
    <p:sldLayoutId id="2147483727" r:id="rId13"/>
    <p:sldLayoutId id="2147483740" r:id="rId14"/>
    <p:sldLayoutId id="2147483741" r:id="rId15"/>
    <p:sldLayoutId id="2147483742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  <p:sldLayoutId id="2147483694" r:id="rId25"/>
    <p:sldLayoutId id="2147483695" r:id="rId26"/>
    <p:sldLayoutId id="2147483696" r:id="rId27"/>
    <p:sldLayoutId id="2147483697" r:id="rId28"/>
    <p:sldLayoutId id="2147483698" r:id="rId29"/>
    <p:sldLayoutId id="2147483699" r:id="rId30"/>
    <p:sldLayoutId id="2147483702" r:id="rId31"/>
    <p:sldLayoutId id="2147483703" r:id="rId32"/>
    <p:sldLayoutId id="2147483743" r:id="rId33"/>
    <p:sldLayoutId id="2147483676" r:id="rId34"/>
    <p:sldLayoutId id="2147483671" r:id="rId35"/>
    <p:sldLayoutId id="2147483651" r:id="rId36"/>
    <p:sldLayoutId id="2147483672" r:id="rId37"/>
    <p:sldLayoutId id="2147483677" r:id="rId38"/>
    <p:sldLayoutId id="2147483661" r:id="rId39"/>
    <p:sldLayoutId id="2147483665" r:id="rId40"/>
    <p:sldLayoutId id="2147483652" r:id="rId41"/>
    <p:sldLayoutId id="2147483662" r:id="rId42"/>
    <p:sldLayoutId id="2147483663" r:id="rId43"/>
    <p:sldLayoutId id="2147483664" r:id="rId44"/>
    <p:sldLayoutId id="2147483666" r:id="rId45"/>
    <p:sldLayoutId id="2147483659" r:id="rId46"/>
    <p:sldLayoutId id="2147483654" r:id="rId47"/>
    <p:sldLayoutId id="2147483667" r:id="rId4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Sella Bold" panose="02000503040000020004" pitchFamily="50" charset="0"/>
          <a:ea typeface="Sella Bold" panose="02000503040000020004" pitchFamily="50" charset="0"/>
          <a:cs typeface="Sella Bold" panose="02000503040000020004" pitchFamily="50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Sella Regular" panose="02000503040000020004" pitchFamily="50" charset="0"/>
          <a:ea typeface="Sella Regular" panose="02000503040000020004" pitchFamily="50" charset="0"/>
          <a:cs typeface="Sella Regular" panose="02000503040000020004" pitchFamily="50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b="1" kern="1200">
          <a:solidFill>
            <a:schemeClr val="tx1"/>
          </a:solidFill>
          <a:latin typeface="Sella Regular" panose="02000503040000020004" pitchFamily="50" charset="0"/>
          <a:ea typeface="Sella Regular" panose="02000503040000020004" pitchFamily="50" charset="0"/>
          <a:cs typeface="Sella Regular" panose="02000503040000020004" pitchFamily="50" charset="0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b="1" kern="1200">
          <a:solidFill>
            <a:schemeClr val="tx2"/>
          </a:solidFill>
          <a:latin typeface="Sella Regular" panose="02000503040000020004" pitchFamily="50" charset="0"/>
          <a:ea typeface="Sella Regular" panose="02000503040000020004" pitchFamily="50" charset="0"/>
          <a:cs typeface="Sella Regular" panose="02000503040000020004" pitchFamily="50" charset="0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Sella Regular" panose="02000503040000020004" pitchFamily="50" charset="0"/>
          <a:ea typeface="Sella Regular" panose="02000503040000020004" pitchFamily="50" charset="0"/>
          <a:cs typeface="Sella Regular" panose="02000503040000020004" pitchFamily="50" charset="0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200" kern="1200">
          <a:solidFill>
            <a:schemeClr val="tx1"/>
          </a:solidFill>
          <a:latin typeface="Sella Regular" panose="02000503040000020004" pitchFamily="50" charset="0"/>
          <a:ea typeface="Sella Regular" panose="02000503040000020004" pitchFamily="50" charset="0"/>
          <a:cs typeface="Sella Regular" panose="02000503040000020004" pitchFamily="50" charset="0"/>
        </a:defRPr>
      </a:lvl5pPr>
      <a:lvl6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b="1" kern="1200">
          <a:solidFill>
            <a:schemeClr val="accent3"/>
          </a:solidFill>
          <a:latin typeface="Sella Regular" panose="02000503040000020004" pitchFamily="50" charset="0"/>
          <a:ea typeface="Sella Regular" panose="02000503040000020004" pitchFamily="50" charset="0"/>
          <a:cs typeface="Sella Regular" panose="02000503040000020004" pitchFamily="50" charset="0"/>
        </a:defRPr>
      </a:lvl6pPr>
      <a:lvl7pPr marL="2286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+mj-lt"/>
        <a:buAutoNum type="arabicPeriod"/>
        <a:defRPr sz="1200" kern="1200">
          <a:solidFill>
            <a:schemeClr val="tx1"/>
          </a:solidFill>
          <a:latin typeface="Sella Regular" panose="02000503040000020004" pitchFamily="50" charset="0"/>
          <a:ea typeface="Sella Regular" panose="02000503040000020004" pitchFamily="50" charset="0"/>
          <a:cs typeface="Sella Regular" panose="02000503040000020004" pitchFamily="50" charset="0"/>
        </a:defRPr>
      </a:lvl7pPr>
      <a:lvl8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3"/>
        </a:buClr>
        <a:buFont typeface="+mj-lt"/>
        <a:buAutoNum type="arabicPeriod"/>
        <a:defRPr sz="1200" kern="1200">
          <a:solidFill>
            <a:schemeClr val="tx1"/>
          </a:solidFill>
          <a:latin typeface="Sella Regular" panose="02000503040000020004" pitchFamily="50" charset="0"/>
          <a:ea typeface="Sella Regular" panose="02000503040000020004" pitchFamily="50" charset="0"/>
          <a:cs typeface="Sella Regular" panose="02000503040000020004" pitchFamily="50" charset="0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Sella Regular" panose="02000503040000020004" pitchFamily="50" charset="0"/>
          <a:ea typeface="Sella Regular" panose="02000503040000020004" pitchFamily="50" charset="0"/>
          <a:cs typeface="Sella Regular" panose="02000503040000020004" pitchFamily="50" charset="0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4F58EF38-B0D9-BB4C-9F41-0BBBB1849A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778" y="692150"/>
            <a:ext cx="10620022" cy="9985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22D0BFF-8C6C-DF44-97AB-DCF86F7AA3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3778" y="1825625"/>
            <a:ext cx="10620022" cy="39204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  <a:p>
            <a:pPr lvl="5"/>
            <a:r>
              <a:rPr lang="it-IT"/>
              <a:t>Sesto livello</a:t>
            </a:r>
          </a:p>
          <a:p>
            <a:pPr lvl="6"/>
            <a:r>
              <a:rPr lang="it-IT"/>
              <a:t>Settimo livello</a:t>
            </a:r>
          </a:p>
          <a:p>
            <a:pPr lvl="7"/>
            <a:r>
              <a:rPr lang="it-IT"/>
              <a:t>Ottavo livello</a:t>
            </a:r>
          </a:p>
          <a:p>
            <a:pPr lvl="8"/>
            <a:r>
              <a:rPr lang="it-IT"/>
              <a:t>Nono livello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9D5D4BB-EB68-A745-A10A-6CA17DF5C3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667" y="6245930"/>
            <a:ext cx="1012613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it-IT"/>
              <a:t>Sella, Innovativi per tradi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24EE91E-38A1-394C-8EA8-29454459C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3778" y="6245930"/>
            <a:ext cx="40357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AA79C4-06C3-BD44-B9A6-7F4B8B549F79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00178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5395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b="1" kern="1200">
          <a:solidFill>
            <a:schemeClr val="tx2"/>
          </a:solidFill>
          <a:latin typeface="+mn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b="1" kern="1200">
          <a:solidFill>
            <a:schemeClr val="accent3"/>
          </a:solidFill>
          <a:latin typeface="+mn-lt"/>
          <a:ea typeface="+mn-ea"/>
          <a:cs typeface="+mn-cs"/>
        </a:defRPr>
      </a:lvl6pPr>
      <a:lvl7pPr marL="2286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3"/>
        </a:buClr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sv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2.svg"/><Relationship Id="rId5" Type="http://schemas.openxmlformats.org/officeDocument/2006/relationships/image" Target="../media/image21.svg"/><Relationship Id="rId4" Type="http://schemas.openxmlformats.org/officeDocument/2006/relationships/image" Target="../media/image20.svg"/><Relationship Id="rId9" Type="http://schemas.openxmlformats.org/officeDocument/2006/relationships/image" Target="../media/image25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5">
            <a:extLst>
              <a:ext uri="{FF2B5EF4-FFF2-40B4-BE49-F238E27FC236}">
                <a16:creationId xmlns:a16="http://schemas.microsoft.com/office/drawing/2014/main" id="{1DFCFBAA-3383-A8EA-D9E6-09ACCC8258F3}"/>
              </a:ext>
            </a:extLst>
          </p:cNvPr>
          <p:cNvSpPr txBox="1">
            <a:spLocks/>
          </p:cNvSpPr>
          <p:nvPr/>
        </p:nvSpPr>
        <p:spPr>
          <a:xfrm>
            <a:off x="694292" y="2636062"/>
            <a:ext cx="9411241" cy="13472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it-IT" sz="4400" noProof="0" dirty="0">
                <a:solidFill>
                  <a:schemeClr val="bg1"/>
                </a:solidFill>
                <a:latin typeface="Century Gothic"/>
              </a:rPr>
              <a:t>Identità Digitale, LSP ed evolutive interne</a:t>
            </a:r>
            <a:endParaRPr lang="it-IT" sz="3200" b="0" noProof="0" dirty="0">
              <a:solidFill>
                <a:schemeClr val="bg1"/>
              </a:solidFill>
            </a:endParaRPr>
          </a:p>
        </p:txBody>
      </p:sp>
      <p:sp>
        <p:nvSpPr>
          <p:cNvPr id="3" name="Titolo 5">
            <a:extLst>
              <a:ext uri="{FF2B5EF4-FFF2-40B4-BE49-F238E27FC236}">
                <a16:creationId xmlns:a16="http://schemas.microsoft.com/office/drawing/2014/main" id="{FBBD9338-D146-6B54-C37E-834F148850B4}"/>
              </a:ext>
            </a:extLst>
          </p:cNvPr>
          <p:cNvSpPr txBox="1">
            <a:spLocks/>
          </p:cNvSpPr>
          <p:nvPr/>
        </p:nvSpPr>
        <p:spPr>
          <a:xfrm>
            <a:off x="694292" y="3983278"/>
            <a:ext cx="9411241" cy="13472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it-IT" sz="3000" b="0" noProof="0" dirty="0">
                <a:solidFill>
                  <a:schemeClr val="bg1"/>
                </a:solidFill>
                <a:latin typeface="Century Gothic"/>
              </a:rPr>
              <a:t>Filippo Chiricozzi</a:t>
            </a:r>
            <a:endParaRPr lang="it-IT" sz="3000" b="0" noProof="0" dirty="0">
              <a:solidFill>
                <a:schemeClr val="bg1"/>
              </a:solidFill>
            </a:endParaRPr>
          </a:p>
        </p:txBody>
      </p:sp>
      <p:sp>
        <p:nvSpPr>
          <p:cNvPr id="4" name="Titolo 5">
            <a:extLst>
              <a:ext uri="{FF2B5EF4-FFF2-40B4-BE49-F238E27FC236}">
                <a16:creationId xmlns:a16="http://schemas.microsoft.com/office/drawing/2014/main" id="{5CA47235-3649-0CCE-5081-E95910367277}"/>
              </a:ext>
            </a:extLst>
          </p:cNvPr>
          <p:cNvSpPr txBox="1">
            <a:spLocks/>
          </p:cNvSpPr>
          <p:nvPr/>
        </p:nvSpPr>
        <p:spPr>
          <a:xfrm>
            <a:off x="694291" y="5510784"/>
            <a:ext cx="9411241" cy="13472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it-IT" sz="1400" b="0" noProof="0" dirty="0">
                <a:solidFill>
                  <a:schemeClr val="bg1"/>
                </a:solidFill>
                <a:latin typeface="Century Gothic"/>
              </a:rPr>
              <a:t>28/04/2026</a:t>
            </a:r>
            <a:endParaRPr lang="it-IT" sz="1400" b="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0829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27A1EDB-B457-F79F-6A01-ED132C339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Sella, Innovativi per tradizione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D88F90CD-386E-AAD8-11B6-826FCBE4F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AA79C4-06C3-BD44-B9A6-7F4B8B549F79}" type="slidenum">
              <a:rPr lang="it-IT" smtClean="0"/>
              <a:t>2</a:t>
            </a:fld>
            <a:endParaRPr lang="it-IT"/>
          </a:p>
        </p:txBody>
      </p:sp>
      <p:graphicFrame>
        <p:nvGraphicFramePr>
          <p:cNvPr id="10" name="Diagramma 9">
            <a:extLst>
              <a:ext uri="{FF2B5EF4-FFF2-40B4-BE49-F238E27FC236}">
                <a16:creationId xmlns:a16="http://schemas.microsoft.com/office/drawing/2014/main" id="{0A8C841E-6896-5142-6D3C-EA870FEC24AA}"/>
              </a:ext>
            </a:extLst>
          </p:cNvPr>
          <p:cNvGraphicFramePr/>
          <p:nvPr/>
        </p:nvGraphicFramePr>
        <p:xfrm>
          <a:off x="5323114" y="814862"/>
          <a:ext cx="6157803" cy="52282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CC03F14C-4C8F-173B-EA07-17C360B70971}"/>
              </a:ext>
            </a:extLst>
          </p:cNvPr>
          <p:cNvSpPr txBox="1"/>
          <p:nvPr/>
        </p:nvSpPr>
        <p:spPr>
          <a:xfrm>
            <a:off x="478972" y="1790090"/>
            <a:ext cx="4844143" cy="30931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400" hangingPunct="0">
              <a:buFont typeface="Arial" panose="020B0604020202020204" pitchFamily="34" charset="0"/>
              <a:buChar char="•"/>
              <a:defRPr/>
            </a:pP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Inizio R&amp;D e prime sperimentazioni nel </a:t>
            </a:r>
            <a:r>
              <a:rPr lang="it-IT" sz="1500" b="1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2023</a:t>
            </a:r>
          </a:p>
          <a:p>
            <a:pPr marL="285750" indent="-285750" defTabSz="914400" hangingPunct="0">
              <a:buFont typeface="Arial" panose="020B0604020202020204" pitchFamily="34" charset="0"/>
              <a:buChar char="•"/>
              <a:defRPr/>
            </a:pP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Partecipazione a </a:t>
            </a:r>
            <a:r>
              <a:rPr lang="it-IT" sz="1500" b="1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NOBID</a:t>
            </a: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 – caso d’uso «opening a bank account via EUDI </a:t>
            </a:r>
            <a:r>
              <a:rPr lang="it-IT" sz="1500" dirty="0" err="1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wallet</a:t>
            </a: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» come </a:t>
            </a:r>
            <a:r>
              <a:rPr lang="it-IT" sz="1500" dirty="0" err="1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Relying</a:t>
            </a: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 Party</a:t>
            </a:r>
          </a:p>
          <a:p>
            <a:pPr marL="285750" indent="-285750" defTabSz="914400" hangingPunct="0">
              <a:buFont typeface="Arial" panose="020B0604020202020204" pitchFamily="34" charset="0"/>
              <a:buChar char="•"/>
              <a:defRPr/>
            </a:pP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Partecipazione </a:t>
            </a:r>
            <a:r>
              <a:rPr lang="it-IT" sz="1500" b="1" dirty="0" err="1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Aptitude</a:t>
            </a: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 (</a:t>
            </a:r>
            <a:r>
              <a:rPr lang="it-IT" sz="1500" dirty="0" err="1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observer</a:t>
            </a: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) e </a:t>
            </a:r>
            <a:r>
              <a:rPr lang="it-IT" sz="1500" b="1" dirty="0" err="1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WeBulld</a:t>
            </a: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 (</a:t>
            </a:r>
            <a:r>
              <a:rPr lang="it-IT" sz="1500" dirty="0" err="1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Relying</a:t>
            </a: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 Party)</a:t>
            </a:r>
          </a:p>
          <a:p>
            <a:pPr marL="285750" indent="-285750" defTabSz="914400" hangingPunct="0">
              <a:buFont typeface="Arial" panose="020B0604020202020204" pitchFamily="34" charset="0"/>
              <a:buChar char="•"/>
              <a:defRPr/>
            </a:pP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Focus di progetto su «opening a bank account for B2B companies» – evolutiva rispetto a primo test NOBID</a:t>
            </a:r>
          </a:p>
          <a:p>
            <a:pPr marL="285750" indent="-285750" defTabSz="914400" hangingPunct="0">
              <a:buFont typeface="Arial" panose="020B0604020202020204" pitchFamily="34" charset="0"/>
              <a:buChar char="•"/>
              <a:defRPr/>
            </a:pP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Sperimentazione interna – EUDI </a:t>
            </a:r>
            <a:r>
              <a:rPr lang="it-IT" sz="1500" dirty="0" err="1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wallet</a:t>
            </a: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 come modello di login su casi d’uso B2E in piattaforme di formazione</a:t>
            </a:r>
          </a:p>
          <a:p>
            <a:pPr marL="285750" indent="-285750" defTabSz="914400" hangingPunct="0">
              <a:buFont typeface="Arial" panose="020B0604020202020204" pitchFamily="34" charset="0"/>
              <a:buChar char="•"/>
              <a:defRPr/>
            </a:pPr>
            <a:r>
              <a:rPr lang="it-IT" sz="1500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  <a:sym typeface="Century Gothic"/>
              </a:rPr>
              <a:t>Formazione interna team preposti ed impattati da normativa EIDAS 2.0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009360F-A39F-3468-57BF-658EE6D6C8FD}"/>
              </a:ext>
            </a:extLst>
          </p:cNvPr>
          <p:cNvSpPr txBox="1"/>
          <p:nvPr/>
        </p:nvSpPr>
        <p:spPr>
          <a:xfrm>
            <a:off x="478972" y="494690"/>
            <a:ext cx="998582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 hangingPunct="0">
              <a:defRPr/>
            </a:pPr>
            <a:r>
              <a:rPr lang="it-IT" sz="3000" b="1" dirty="0">
                <a:solidFill>
                  <a:srgbClr val="1130C5"/>
                </a:solidFill>
                <a:latin typeface="Sella Stencil" panose="02000503040000020004" pitchFamily="2" charset="0"/>
                <a:ea typeface="Sella Stencil" panose="02000503040000020004" pitchFamily="2" charset="0"/>
                <a:cs typeface="Sella Stencil" panose="02000503040000020004" pitchFamily="2" charset="0"/>
                <a:sym typeface="Century Gothic"/>
              </a:rPr>
              <a:t>Approccio all’Identità Digitale nel Gruppo Sella</a:t>
            </a:r>
          </a:p>
        </p:txBody>
      </p:sp>
    </p:spTree>
    <p:extLst>
      <p:ext uri="{BB962C8B-B14F-4D97-AF65-F5344CB8AC3E}">
        <p14:creationId xmlns:p14="http://schemas.microsoft.com/office/powerpoint/2010/main" val="1842759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F37EF5-A696-5D06-A203-E2FE4CB559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6D98D50B-C622-9D9B-0141-53E57A832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Sella, Innovativi per tradizione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A187B0E7-DA0D-A780-ABE1-E992664D4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AA79C4-06C3-BD44-B9A6-7F4B8B549F79}" type="slidenum">
              <a:rPr lang="it-IT" smtClean="0"/>
              <a:t>3</a:t>
            </a:fld>
            <a:endParaRPr lang="it-IT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F7F9B353-F46E-C1F1-2854-B68B1CFFBDEC}"/>
              </a:ext>
            </a:extLst>
          </p:cNvPr>
          <p:cNvSpPr txBox="1"/>
          <p:nvPr/>
        </p:nvSpPr>
        <p:spPr>
          <a:xfrm>
            <a:off x="640080" y="647212"/>
            <a:ext cx="998582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 hangingPunct="0">
              <a:defRPr/>
            </a:pPr>
            <a:r>
              <a:rPr lang="it-IT" sz="3000" b="1" dirty="0">
                <a:solidFill>
                  <a:srgbClr val="1130C5"/>
                </a:solidFill>
                <a:latin typeface="Sella Stencil" panose="02000503040000020004" pitchFamily="2" charset="0"/>
                <a:ea typeface="Sella Stencil" panose="02000503040000020004" pitchFamily="2" charset="0"/>
                <a:cs typeface="Sella Stencil" panose="02000503040000020004" pitchFamily="2" charset="0"/>
                <a:sym typeface="Century Gothic"/>
              </a:rPr>
              <a:t>Principali Focus di Sviluppo</a:t>
            </a:r>
          </a:p>
        </p:txBody>
      </p:sp>
      <p:sp>
        <p:nvSpPr>
          <p:cNvPr id="3" name="Shape 2">
            <a:extLst>
              <a:ext uri="{FF2B5EF4-FFF2-40B4-BE49-F238E27FC236}">
                <a16:creationId xmlns:a16="http://schemas.microsoft.com/office/drawing/2014/main" id="{0190D20A-F020-2542-DEE2-9F94380A37D4}"/>
              </a:ext>
            </a:extLst>
          </p:cNvPr>
          <p:cNvSpPr/>
          <p:nvPr/>
        </p:nvSpPr>
        <p:spPr>
          <a:xfrm>
            <a:off x="640080" y="1417320"/>
            <a:ext cx="3520440" cy="4623898"/>
          </a:xfrm>
          <a:prstGeom prst="roundRect">
            <a:avLst>
              <a:gd name="adj" fmla="val 1818"/>
            </a:avLst>
          </a:prstGeom>
          <a:solidFill>
            <a:srgbClr val="F3F7FF"/>
          </a:solidFill>
          <a:ln w="12700">
            <a:solidFill>
              <a:srgbClr val="C9D8F0"/>
            </a:solidFill>
            <a:prstDash val="solid"/>
          </a:ln>
        </p:spPr>
        <p:txBody>
          <a:bodyPr/>
          <a:lstStyle/>
          <a:p>
            <a:endParaRPr lang="it-IT" sz="1050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sp>
        <p:nvSpPr>
          <p:cNvPr id="6" name="Text 3">
            <a:extLst>
              <a:ext uri="{FF2B5EF4-FFF2-40B4-BE49-F238E27FC236}">
                <a16:creationId xmlns:a16="http://schemas.microsoft.com/office/drawing/2014/main" id="{1D372E94-757F-4223-788F-DF6FC3E82AD4}"/>
              </a:ext>
            </a:extLst>
          </p:cNvPr>
          <p:cNvSpPr/>
          <p:nvPr/>
        </p:nvSpPr>
        <p:spPr>
          <a:xfrm>
            <a:off x="804672" y="1554480"/>
            <a:ext cx="3191256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00" b="1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B2C | NOBID / retail onboarding</a:t>
            </a:r>
          </a:p>
        </p:txBody>
      </p:sp>
      <p:sp>
        <p:nvSpPr>
          <p:cNvPr id="7" name="Text 4">
            <a:extLst>
              <a:ext uri="{FF2B5EF4-FFF2-40B4-BE49-F238E27FC236}">
                <a16:creationId xmlns:a16="http://schemas.microsoft.com/office/drawing/2014/main" id="{D2D0FA04-9374-FC0E-E5CC-E14E8E1996BF}"/>
              </a:ext>
            </a:extLst>
          </p:cNvPr>
          <p:cNvSpPr/>
          <p:nvPr/>
        </p:nvSpPr>
        <p:spPr>
          <a:xfrm>
            <a:off x="804672" y="1941098"/>
            <a:ext cx="3338025" cy="1550103"/>
          </a:xfrm>
          <a:prstGeom prst="rect">
            <a:avLst/>
          </a:prstGeom>
          <a:noFill/>
          <a:ln/>
        </p:spPr>
        <p:txBody>
          <a:bodyPr wrap="square" lIns="254" tIns="254" rIns="254" bIns="254" rtlCol="0" anchor="t">
            <a:normAutofit/>
          </a:bodyPr>
          <a:lstStyle/>
          <a:p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•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rototip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i front-end e journey per “Opening a Bank Account via EUDI Wallet”.
•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imulazion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apertura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nt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>
                <a:solidFill>
                  <a:srgbClr val="0B2E59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ella Start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.
• Test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u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PID,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esperienza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utent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egolamentata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,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mpatibilità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ARF e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meccanism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i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firma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remota forte.
• Primo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terren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natural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per </a:t>
            </a:r>
            <a:r>
              <a:rPr lang="en-US" sz="1200" i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eadiness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2027 sui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anal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retail.</a:t>
            </a:r>
            <a:endParaRPr lang="en-US" sz="1200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sp>
        <p:nvSpPr>
          <p:cNvPr id="8" name="Shape 5">
            <a:extLst>
              <a:ext uri="{FF2B5EF4-FFF2-40B4-BE49-F238E27FC236}">
                <a16:creationId xmlns:a16="http://schemas.microsoft.com/office/drawing/2014/main" id="{0BCE289D-06B8-D958-8CB4-CFA45C6FBC07}"/>
              </a:ext>
            </a:extLst>
          </p:cNvPr>
          <p:cNvSpPr/>
          <p:nvPr/>
        </p:nvSpPr>
        <p:spPr>
          <a:xfrm>
            <a:off x="4334256" y="1417320"/>
            <a:ext cx="3520440" cy="4623898"/>
          </a:xfrm>
          <a:prstGeom prst="roundRect">
            <a:avLst>
              <a:gd name="adj" fmla="val 1818"/>
            </a:avLst>
          </a:prstGeom>
          <a:solidFill>
            <a:srgbClr val="FFFFFF"/>
          </a:solidFill>
          <a:ln w="12700">
            <a:solidFill>
              <a:srgbClr val="D7E0EA"/>
            </a:solidFill>
            <a:prstDash val="solid"/>
          </a:ln>
        </p:spPr>
        <p:txBody>
          <a:bodyPr/>
          <a:lstStyle/>
          <a:p>
            <a:endParaRPr lang="it-IT" sz="105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sp>
        <p:nvSpPr>
          <p:cNvPr id="9" name="Text 6">
            <a:extLst>
              <a:ext uri="{FF2B5EF4-FFF2-40B4-BE49-F238E27FC236}">
                <a16:creationId xmlns:a16="http://schemas.microsoft.com/office/drawing/2014/main" id="{540B3D42-F6C8-8591-4FEF-1852203751ED}"/>
              </a:ext>
            </a:extLst>
          </p:cNvPr>
          <p:cNvSpPr/>
          <p:nvPr/>
        </p:nvSpPr>
        <p:spPr>
          <a:xfrm>
            <a:off x="4498848" y="1554480"/>
            <a:ext cx="352044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00" b="1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B2B | WE BUILD / business onboarding </a:t>
            </a:r>
          </a:p>
        </p:txBody>
      </p:sp>
      <p:sp>
        <p:nvSpPr>
          <p:cNvPr id="10" name="Text 7">
            <a:extLst>
              <a:ext uri="{FF2B5EF4-FFF2-40B4-BE49-F238E27FC236}">
                <a16:creationId xmlns:a16="http://schemas.microsoft.com/office/drawing/2014/main" id="{930839C2-3C79-B522-E56B-287BCE921E39}"/>
              </a:ext>
            </a:extLst>
          </p:cNvPr>
          <p:cNvSpPr/>
          <p:nvPr/>
        </p:nvSpPr>
        <p:spPr>
          <a:xfrm>
            <a:off x="4498848" y="1941098"/>
            <a:ext cx="3339001" cy="1719858"/>
          </a:xfrm>
          <a:prstGeom prst="rect">
            <a:avLst/>
          </a:prstGeom>
          <a:noFill/>
          <a:ln/>
        </p:spPr>
        <p:txBody>
          <a:bodyPr wrap="square" lIns="254" tIns="254" rIns="254" bIns="254" rtlCol="0" anchor="t">
            <a:noAutofit/>
          </a:bodyPr>
          <a:lstStyle/>
          <a:p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• KYB/KYS, corporate banking e corporate payments.  
• Valore in “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dentificar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l’impresa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” e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trutturar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i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ecision rights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,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firma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e data sharing in modo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verificabil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.
•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erimetr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ad alto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otenzial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u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PMI/corporate e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apport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con PA/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egistr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.</a:t>
            </a:r>
          </a:p>
          <a:p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• Ancora in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rs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lo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vilupp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con fine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perimentazion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verso la fine del Q2 2026</a:t>
            </a:r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85E87152-2350-D78A-8B91-361C5654065E}"/>
              </a:ext>
            </a:extLst>
          </p:cNvPr>
          <p:cNvSpPr/>
          <p:nvPr/>
        </p:nvSpPr>
        <p:spPr>
          <a:xfrm>
            <a:off x="8028432" y="1417320"/>
            <a:ext cx="3520440" cy="4623898"/>
          </a:xfrm>
          <a:prstGeom prst="roundRect">
            <a:avLst>
              <a:gd name="adj" fmla="val 1818"/>
            </a:avLst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rgbClr val="EDF7F0"/>
            </a:solidFill>
            <a:prstDash val="solid"/>
          </a:ln>
        </p:spPr>
        <p:txBody>
          <a:bodyPr/>
          <a:lstStyle/>
          <a:p>
            <a:endParaRPr lang="it-IT" sz="105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sp>
        <p:nvSpPr>
          <p:cNvPr id="12" name="Text 9">
            <a:extLst>
              <a:ext uri="{FF2B5EF4-FFF2-40B4-BE49-F238E27FC236}">
                <a16:creationId xmlns:a16="http://schemas.microsoft.com/office/drawing/2014/main" id="{FA89B340-40DA-2DA6-3154-7238DE544B0D}"/>
              </a:ext>
            </a:extLst>
          </p:cNvPr>
          <p:cNvSpPr/>
          <p:nvPr/>
        </p:nvSpPr>
        <p:spPr>
          <a:xfrm>
            <a:off x="8193024" y="1554480"/>
            <a:ext cx="3191256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00" b="1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B2E | Makers + Gataca</a:t>
            </a:r>
          </a:p>
        </p:txBody>
      </p:sp>
      <p:sp>
        <p:nvSpPr>
          <p:cNvPr id="13" name="Text 10">
            <a:extLst>
              <a:ext uri="{FF2B5EF4-FFF2-40B4-BE49-F238E27FC236}">
                <a16:creationId xmlns:a16="http://schemas.microsoft.com/office/drawing/2014/main" id="{7CC112EA-2EDF-CD4A-ED10-C8DFFDFF4398}"/>
              </a:ext>
            </a:extLst>
          </p:cNvPr>
          <p:cNvSpPr/>
          <p:nvPr/>
        </p:nvSpPr>
        <p:spPr>
          <a:xfrm>
            <a:off x="8193024" y="1941098"/>
            <a:ext cx="3191256" cy="1288915"/>
          </a:xfrm>
          <a:prstGeom prst="rect">
            <a:avLst/>
          </a:prstGeom>
          <a:noFill/>
          <a:ln/>
        </p:spPr>
        <p:txBody>
          <a:bodyPr wrap="square" lIns="254" tIns="254" rIns="254" bIns="254" rtlCol="0" anchor="t">
            <a:noAutofit/>
          </a:bodyPr>
          <a:lstStyle/>
          <a:p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• Primo use case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ntern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i wallet identity in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mbit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employe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
•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pprocci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assword-less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,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minim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set di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ttribut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,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logica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mplementar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al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Single Sign-On di Microsoft Entra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
• Base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ncreta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per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ipensar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ccess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ntern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, training, employee lifecycle e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iduzion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ella multi-identity del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ipedent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.</a:t>
            </a:r>
            <a:endParaRPr lang="en-US" sz="1200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0DBB0833-264B-CAC3-3A53-919D386A165F}"/>
              </a:ext>
            </a:extLst>
          </p:cNvPr>
          <p:cNvSpPr/>
          <p:nvPr/>
        </p:nvSpPr>
        <p:spPr>
          <a:xfrm>
            <a:off x="807719" y="3748765"/>
            <a:ext cx="2704398" cy="2732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00" b="1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Takeaways</a:t>
            </a:r>
          </a:p>
        </p:txBody>
      </p:sp>
      <p:sp>
        <p:nvSpPr>
          <p:cNvPr id="15" name="Text 4">
            <a:extLst>
              <a:ext uri="{FF2B5EF4-FFF2-40B4-BE49-F238E27FC236}">
                <a16:creationId xmlns:a16="http://schemas.microsoft.com/office/drawing/2014/main" id="{22F287DD-6B7F-A0B4-A5F4-728212E0F075}"/>
              </a:ext>
            </a:extLst>
          </p:cNvPr>
          <p:cNvSpPr/>
          <p:nvPr/>
        </p:nvSpPr>
        <p:spPr>
          <a:xfrm>
            <a:off x="796985" y="4024192"/>
            <a:ext cx="3347179" cy="3666744"/>
          </a:xfrm>
          <a:prstGeom prst="rect">
            <a:avLst/>
          </a:prstGeom>
          <a:noFill/>
          <a:ln/>
        </p:spPr>
        <p:txBody>
          <a:bodyPr wrap="square" lIns="254" tIns="254" rIns="254" bIns="254" rtlCol="0" anchor="t">
            <a:norm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Osservazion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el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icl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i vita di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redenzial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emess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a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oggett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terz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ll’intern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ell’ecosistema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EUDI. </a:t>
            </a:r>
            <a:endParaRPr lang="en-US" sz="2000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  <a:p>
            <a:pPr marL="285750" indent="-285750">
              <a:buFont typeface="Arial"/>
              <a:buChar char="•"/>
            </a:pP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ielvato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mpatto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lato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esperienza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utente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e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rocessi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ntern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: 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ambia 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l modo in cui il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lient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nteragisc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con la 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A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tramit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l’hom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banking e il modo in cui la banca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gestisc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verifica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ell’identità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e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utorizzazione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ai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erviz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. </a:t>
            </a:r>
            <a:endParaRPr lang="en-US" sz="2000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  <a:p>
            <a:pPr marL="285750" indent="-285750">
              <a:buFont typeface="Arial"/>
              <a:buChar char="•"/>
            </a:pP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otenziale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ncreto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i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afforzamento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ei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ervizi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i onboarding remote.</a:t>
            </a:r>
            <a:endParaRPr lang="en-US" sz="1200" dirty="0">
              <a:solidFill>
                <a:srgbClr val="1F2937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sp>
        <p:nvSpPr>
          <p:cNvPr id="16" name="Text 4">
            <a:extLst>
              <a:ext uri="{FF2B5EF4-FFF2-40B4-BE49-F238E27FC236}">
                <a16:creationId xmlns:a16="http://schemas.microsoft.com/office/drawing/2014/main" id="{3EE71E34-89D2-5AA6-8015-7CDCD5C68BE6}"/>
              </a:ext>
            </a:extLst>
          </p:cNvPr>
          <p:cNvSpPr/>
          <p:nvPr/>
        </p:nvSpPr>
        <p:spPr>
          <a:xfrm>
            <a:off x="4490670" y="4178061"/>
            <a:ext cx="3347179" cy="3666744"/>
          </a:xfrm>
          <a:prstGeom prst="rect">
            <a:avLst/>
          </a:prstGeom>
          <a:noFill/>
          <a:ln/>
        </p:spPr>
        <p:txBody>
          <a:bodyPr wrap="square" lIns="254" tIns="254" rIns="254" bIns="254" rtlCol="0" anchor="t">
            <a:norm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nalisi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’impatto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per SBS come </a:t>
            </a:r>
            <a:r>
              <a:rPr lang="en-US" sz="1200" b="1" i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elying party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, in un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ntest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in cui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evolvon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nternament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lcun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fluss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i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firma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,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elegh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e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utorizzazion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. </a:t>
            </a:r>
            <a:endParaRPr lang="en-US" sz="1200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  <a:p>
            <a:pPr marL="285750" indent="-285750">
              <a:buFont typeface="Arial"/>
              <a:buChar char="•"/>
            </a:pP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L’analisi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ta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facendo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emergere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ossibili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miglioramenti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ella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logica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interna di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iattaforma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,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h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tiam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pprofondend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con il team Canali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igital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e con Fabrick</a:t>
            </a:r>
          </a:p>
        </p:txBody>
      </p:sp>
      <p:sp>
        <p:nvSpPr>
          <p:cNvPr id="17" name="Text 4">
            <a:extLst>
              <a:ext uri="{FF2B5EF4-FFF2-40B4-BE49-F238E27FC236}">
                <a16:creationId xmlns:a16="http://schemas.microsoft.com/office/drawing/2014/main" id="{F705EA16-B5CB-E7EF-86B0-95910A171ACA}"/>
              </a:ext>
            </a:extLst>
          </p:cNvPr>
          <p:cNvSpPr/>
          <p:nvPr/>
        </p:nvSpPr>
        <p:spPr>
          <a:xfrm>
            <a:off x="8198132" y="4024192"/>
            <a:ext cx="3191256" cy="2061583"/>
          </a:xfrm>
          <a:prstGeom prst="rect">
            <a:avLst/>
          </a:prstGeom>
          <a:noFill/>
          <a:ln/>
        </p:spPr>
        <p:txBody>
          <a:bodyPr wrap="square" lIns="254" tIns="254" rIns="254" bIns="254" rtlCol="0" anchor="t">
            <a:norm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nalisi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el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uolo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i </a:t>
            </a:r>
            <a:r>
              <a:rPr lang="en-US" sz="1200" b="1" i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ssuer 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i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redenziali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verificabili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e di relying party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,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osservand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l’inter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icl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i vita delle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redenzial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. </a:t>
            </a:r>
            <a:endParaRPr lang="en-US" sz="1200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  <a:p>
            <a:pPr marL="285750" indent="-285750">
              <a:buFont typeface="Arial"/>
              <a:buChar char="•"/>
            </a:pP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L’impatto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ul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B2E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uò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essere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molto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ilevant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,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erché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nsent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i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ipensar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in modo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iù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trutturato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dentità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,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ttribut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e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utorizzazioni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el </a:t>
            </a:r>
            <a:r>
              <a:rPr lang="en-US" sz="1200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ipendente</a:t>
            </a:r>
            <a:r>
              <a:rPr lang="en-US" sz="1200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. </a:t>
            </a:r>
            <a:endParaRPr lang="en-US" sz="1200" dirty="0"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  <a:p>
            <a:pPr marL="285750" indent="-285750">
              <a:buFont typeface="Arial"/>
              <a:buChar char="•"/>
            </a:pP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l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rincipale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valore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emerge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nella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iduzione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ella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frammentazione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nformativa</a:t>
            </a:r>
            <a:r>
              <a:rPr lang="en-US" sz="1200" b="1" dirty="0">
                <a:solidFill>
                  <a:srgbClr val="1F2937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interna</a:t>
            </a:r>
            <a:endParaRPr lang="en-US" sz="1200" dirty="0">
              <a:solidFill>
                <a:srgbClr val="1F2937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sp>
        <p:nvSpPr>
          <p:cNvPr id="18" name="Text 12">
            <a:extLst>
              <a:ext uri="{FF2B5EF4-FFF2-40B4-BE49-F238E27FC236}">
                <a16:creationId xmlns:a16="http://schemas.microsoft.com/office/drawing/2014/main" id="{A6F7EF40-F182-86AF-95AA-D7350092744D}"/>
              </a:ext>
            </a:extLst>
          </p:cNvPr>
          <p:cNvSpPr/>
          <p:nvPr/>
        </p:nvSpPr>
        <p:spPr>
          <a:xfrm>
            <a:off x="4486133" y="3748765"/>
            <a:ext cx="2704398" cy="2732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00" b="1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Takeaways</a:t>
            </a:r>
          </a:p>
        </p:txBody>
      </p:sp>
      <p:sp>
        <p:nvSpPr>
          <p:cNvPr id="19" name="Text 12">
            <a:extLst>
              <a:ext uri="{FF2B5EF4-FFF2-40B4-BE49-F238E27FC236}">
                <a16:creationId xmlns:a16="http://schemas.microsoft.com/office/drawing/2014/main" id="{ADBA8DA6-5790-E725-78A2-A4FE7EF59CE0}"/>
              </a:ext>
            </a:extLst>
          </p:cNvPr>
          <p:cNvSpPr/>
          <p:nvPr/>
        </p:nvSpPr>
        <p:spPr>
          <a:xfrm>
            <a:off x="8196665" y="3748765"/>
            <a:ext cx="2704398" cy="2732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00" b="1" dirty="0">
                <a:solidFill>
                  <a:schemeClr val="tx2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Takeaways</a:t>
            </a:r>
          </a:p>
        </p:txBody>
      </p:sp>
    </p:spTree>
    <p:extLst>
      <p:ext uri="{BB962C8B-B14F-4D97-AF65-F5344CB8AC3E}">
        <p14:creationId xmlns:p14="http://schemas.microsoft.com/office/powerpoint/2010/main" val="19197377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000B3F-9CD9-382F-9D2F-57839EB0EC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6A70A69F-884D-1AEA-8C19-9D8EC8B50F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Sella, Innovativi per tradizione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37F1FAA-53D4-17B4-2302-04C7058E0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AA79C4-06C3-BD44-B9A6-7F4B8B549F79}" type="slidenum">
              <a:rPr lang="it-IT" smtClean="0"/>
              <a:t>4</a:t>
            </a:fld>
            <a:endParaRPr lang="it-IT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09FD073-3EB5-84AB-D829-B3A14BC37E50}"/>
              </a:ext>
            </a:extLst>
          </p:cNvPr>
          <p:cNvSpPr txBox="1"/>
          <p:nvPr/>
        </p:nvSpPr>
        <p:spPr>
          <a:xfrm>
            <a:off x="640080" y="647212"/>
            <a:ext cx="998582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 hangingPunct="0">
              <a:defRPr/>
            </a:pPr>
            <a:r>
              <a:rPr lang="it-IT" sz="3000" b="1" dirty="0">
                <a:solidFill>
                  <a:srgbClr val="1130C5"/>
                </a:solidFill>
                <a:latin typeface="Sella Stencil" panose="02000503040000020004" pitchFamily="2" charset="0"/>
                <a:ea typeface="Sella Stencil" panose="02000503040000020004" pitchFamily="2" charset="0"/>
                <a:cs typeface="Sella Stencil" panose="02000503040000020004" pitchFamily="2" charset="0"/>
                <a:sym typeface="Century Gothic"/>
              </a:rPr>
              <a:t>Large Scale Pilot | Opportunità e Potenzialità</a:t>
            </a:r>
          </a:p>
        </p:txBody>
      </p:sp>
      <p:sp>
        <p:nvSpPr>
          <p:cNvPr id="3" name="Rectangle: Rounded Corners 61">
            <a:extLst>
              <a:ext uri="{FF2B5EF4-FFF2-40B4-BE49-F238E27FC236}">
                <a16:creationId xmlns:a16="http://schemas.microsoft.com/office/drawing/2014/main" id="{D5F6FAE0-4F08-DABB-AD48-731068951C2E}"/>
              </a:ext>
            </a:extLst>
          </p:cNvPr>
          <p:cNvSpPr/>
          <p:nvPr/>
        </p:nvSpPr>
        <p:spPr>
          <a:xfrm>
            <a:off x="744665" y="1933992"/>
            <a:ext cx="2084400" cy="77536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36000" rIns="180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600"/>
              </a:spcBef>
              <a:defRPr/>
            </a:pPr>
            <a:r>
              <a:rPr lang="en-US" sz="15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pprendere</a:t>
            </a:r>
            <a:r>
              <a:rPr lang="en-US" sz="15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, </a:t>
            </a:r>
            <a:r>
              <a:rPr lang="en-US" sz="15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viluppare</a:t>
            </a:r>
            <a:r>
              <a:rPr lang="en-US" sz="15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500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e</a:t>
            </a:r>
            <a:r>
              <a:rPr lang="en-US" sz="15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5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ndividere</a:t>
            </a:r>
            <a:endParaRPr lang="en-US" sz="1500" b="1" dirty="0">
              <a:solidFill>
                <a:schemeClr val="tx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grpSp>
        <p:nvGrpSpPr>
          <p:cNvPr id="6" name="Group 18">
            <a:extLst>
              <a:ext uri="{FF2B5EF4-FFF2-40B4-BE49-F238E27FC236}">
                <a16:creationId xmlns:a16="http://schemas.microsoft.com/office/drawing/2014/main" id="{91A4E043-3941-81AC-6A4E-56C6BED42D8A}"/>
              </a:ext>
            </a:extLst>
          </p:cNvPr>
          <p:cNvGrpSpPr/>
          <p:nvPr/>
        </p:nvGrpSpPr>
        <p:grpSpPr>
          <a:xfrm>
            <a:off x="747703" y="3167915"/>
            <a:ext cx="10969129" cy="440326"/>
            <a:chOff x="608400" y="3179565"/>
            <a:chExt cx="10969129" cy="440326"/>
          </a:xfrm>
        </p:grpSpPr>
        <p:cxnSp>
          <p:nvCxnSpPr>
            <p:cNvPr id="7" name="Straight Connector 13">
              <a:extLst>
                <a:ext uri="{FF2B5EF4-FFF2-40B4-BE49-F238E27FC236}">
                  <a16:creationId xmlns:a16="http://schemas.microsoft.com/office/drawing/2014/main" id="{0D9A49E9-5584-9204-4EC6-2199C52D300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8400" y="3399728"/>
              <a:ext cx="10969129" cy="0"/>
            </a:xfrm>
            <a:prstGeom prst="line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ctangle 14">
              <a:extLst>
                <a:ext uri="{FF2B5EF4-FFF2-40B4-BE49-F238E27FC236}">
                  <a16:creationId xmlns:a16="http://schemas.microsoft.com/office/drawing/2014/main" id="{EC918CB3-9B6E-FAE8-6853-33467D08F428}"/>
                </a:ext>
              </a:extLst>
            </p:cNvPr>
            <p:cNvSpPr/>
            <p:nvPr/>
          </p:nvSpPr>
          <p:spPr>
            <a:xfrm rot="5400000">
              <a:off x="6194570" y="3146213"/>
              <a:ext cx="440326" cy="5070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100">
                <a:solidFill>
                  <a:prstClr val="white"/>
                </a:solidFill>
                <a:latin typeface="Aptos" panose="020B0004020202020204" pitchFamily="34" charset="0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B8A2478-0D18-E3CF-0183-DA37936F8000}"/>
                </a:ext>
              </a:extLst>
            </p:cNvPr>
            <p:cNvGrpSpPr/>
            <p:nvPr/>
          </p:nvGrpSpPr>
          <p:grpSpPr>
            <a:xfrm rot="5400000">
              <a:off x="6303180" y="3193983"/>
              <a:ext cx="300569" cy="296337"/>
              <a:chOff x="4019312" y="3319409"/>
              <a:chExt cx="300569" cy="296337"/>
            </a:xfrm>
          </p:grpSpPr>
          <p:sp>
            <p:nvSpPr>
              <p:cNvPr id="10" name="Half Frame 6">
                <a:extLst>
                  <a:ext uri="{FF2B5EF4-FFF2-40B4-BE49-F238E27FC236}">
                    <a16:creationId xmlns:a16="http://schemas.microsoft.com/office/drawing/2014/main" id="{45C36711-1EF9-C788-82CE-0724CB980150}"/>
                  </a:ext>
                </a:extLst>
              </p:cNvPr>
              <p:cNvSpPr/>
              <p:nvPr/>
            </p:nvSpPr>
            <p:spPr>
              <a:xfrm rot="8045483">
                <a:off x="4019312" y="3358555"/>
                <a:ext cx="218062" cy="218062"/>
              </a:xfrm>
              <a:prstGeom prst="halfFrame">
                <a:avLst>
                  <a:gd name="adj1" fmla="val 17034"/>
                  <a:gd name="adj2" fmla="val 17697"/>
                </a:avLst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1100">
                  <a:solidFill>
                    <a:prstClr val="black"/>
                  </a:solidFill>
                  <a:latin typeface="Aptos" panose="020B0004020202020204" pitchFamily="34" charset="0"/>
                </a:endParaRPr>
              </a:p>
            </p:txBody>
          </p:sp>
          <p:sp>
            <p:nvSpPr>
              <p:cNvPr id="11" name="Half Frame 7">
                <a:extLst>
                  <a:ext uri="{FF2B5EF4-FFF2-40B4-BE49-F238E27FC236}">
                    <a16:creationId xmlns:a16="http://schemas.microsoft.com/office/drawing/2014/main" id="{0447158C-6954-3078-250C-D2C4F6D0E3B1}"/>
                  </a:ext>
                </a:extLst>
              </p:cNvPr>
              <p:cNvSpPr/>
              <p:nvPr/>
            </p:nvSpPr>
            <p:spPr>
              <a:xfrm rot="8045483">
                <a:off x="4023544" y="3319409"/>
                <a:ext cx="296337" cy="296337"/>
              </a:xfrm>
              <a:prstGeom prst="halfFrame">
                <a:avLst>
                  <a:gd name="adj1" fmla="val 10833"/>
                  <a:gd name="adj2" fmla="val 12500"/>
                </a:avLst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1100">
                  <a:solidFill>
                    <a:prstClr val="black"/>
                  </a:solidFill>
                  <a:latin typeface="Aptos" panose="020B0004020202020204" pitchFamily="34" charset="0"/>
                </a:endParaRPr>
              </a:p>
            </p:txBody>
          </p:sp>
        </p:grpSp>
      </p:grpSp>
      <p:sp>
        <p:nvSpPr>
          <p:cNvPr id="12" name="Rectangle: Rounded Corners 61">
            <a:extLst>
              <a:ext uri="{FF2B5EF4-FFF2-40B4-BE49-F238E27FC236}">
                <a16:creationId xmlns:a16="http://schemas.microsoft.com/office/drawing/2014/main" id="{6660405B-238D-AA8B-13D1-5A9CB3FF3DAC}"/>
              </a:ext>
            </a:extLst>
          </p:cNvPr>
          <p:cNvSpPr/>
          <p:nvPr/>
        </p:nvSpPr>
        <p:spPr>
          <a:xfrm>
            <a:off x="744665" y="3613441"/>
            <a:ext cx="2084400" cy="154032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36000" rIns="180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600"/>
              </a:spcBef>
              <a:defRPr/>
            </a:pPr>
            <a:r>
              <a:rPr lang="en-US" sz="15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Formare</a:t>
            </a:r>
            <a:r>
              <a:rPr lang="en-US" sz="15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, </a:t>
            </a:r>
            <a:r>
              <a:rPr lang="en-US" sz="15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testare</a:t>
            </a:r>
            <a:r>
              <a:rPr lang="en-US" sz="15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500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ed</a:t>
            </a:r>
            <a:r>
              <a:rPr lang="en-US" sz="15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500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essere</a:t>
            </a:r>
            <a:r>
              <a:rPr lang="en-US" sz="15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5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ronti</a:t>
            </a:r>
            <a:endParaRPr lang="en-US" sz="1500" b="1" dirty="0">
              <a:solidFill>
                <a:schemeClr val="tx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sp>
        <p:nvSpPr>
          <p:cNvPr id="13" name="Rectangle: Rounded Corners 61">
            <a:extLst>
              <a:ext uri="{FF2B5EF4-FFF2-40B4-BE49-F238E27FC236}">
                <a16:creationId xmlns:a16="http://schemas.microsoft.com/office/drawing/2014/main" id="{EE4B2D77-9248-2741-BAD4-5F7D09927F8B}"/>
              </a:ext>
            </a:extLst>
          </p:cNvPr>
          <p:cNvSpPr/>
          <p:nvPr/>
        </p:nvSpPr>
        <p:spPr>
          <a:xfrm>
            <a:off x="2480393" y="2253429"/>
            <a:ext cx="2084400" cy="154032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36000" rIns="180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600"/>
              </a:spcBef>
              <a:defRPr/>
            </a:pPr>
            <a:endParaRPr lang="en-US" sz="1000" b="1" dirty="0">
              <a:solidFill>
                <a:schemeClr val="tx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sp>
        <p:nvSpPr>
          <p:cNvPr id="14" name="Rectangle: Rounded Corners 61">
            <a:extLst>
              <a:ext uri="{FF2B5EF4-FFF2-40B4-BE49-F238E27FC236}">
                <a16:creationId xmlns:a16="http://schemas.microsoft.com/office/drawing/2014/main" id="{E7A461FB-ACD8-3269-842C-00D468034088}"/>
              </a:ext>
            </a:extLst>
          </p:cNvPr>
          <p:cNvSpPr/>
          <p:nvPr/>
        </p:nvSpPr>
        <p:spPr>
          <a:xfrm>
            <a:off x="2799872" y="2114304"/>
            <a:ext cx="2084400" cy="154032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36000" rIns="180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600"/>
              </a:spcBef>
              <a:defRPr/>
            </a:pP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noscer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le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basi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i EIDAS 2 ed ARF</a:t>
            </a:r>
          </a:p>
        </p:txBody>
      </p:sp>
      <p:sp>
        <p:nvSpPr>
          <p:cNvPr id="15" name="Rectangle: Rounded Corners 61">
            <a:extLst>
              <a:ext uri="{FF2B5EF4-FFF2-40B4-BE49-F238E27FC236}">
                <a16:creationId xmlns:a16="http://schemas.microsoft.com/office/drawing/2014/main" id="{A3244518-0672-E9C2-9D60-FB56FB5FFE46}"/>
              </a:ext>
            </a:extLst>
          </p:cNvPr>
          <p:cNvSpPr/>
          <p:nvPr/>
        </p:nvSpPr>
        <p:spPr>
          <a:xfrm>
            <a:off x="4913465" y="2073117"/>
            <a:ext cx="2084400" cy="154032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36000" rIns="180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600"/>
              </a:spcBef>
              <a:defRPr/>
            </a:pPr>
            <a:r>
              <a:rPr lang="en-US" sz="11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ndividere</a:t>
            </a:r>
            <a:r>
              <a:rPr lang="en-US" sz="11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rocessi</a:t>
            </a:r>
            <a:r>
              <a:rPr lang="en-US" sz="11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e procedure, </a:t>
            </a:r>
            <a:r>
              <a:rPr lang="en-US" sz="11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sì</a:t>
            </a:r>
            <a:r>
              <a:rPr lang="en-US" sz="11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a </a:t>
            </a:r>
            <a:r>
              <a:rPr lang="en-US" sz="11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struire</a:t>
            </a:r>
            <a:r>
              <a:rPr lang="en-US" sz="11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un </a:t>
            </a:r>
            <a:r>
              <a:rPr lang="en-US" sz="11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istema</a:t>
            </a:r>
            <a:r>
              <a:rPr lang="en-US" sz="11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ndiviso</a:t>
            </a:r>
            <a:r>
              <a:rPr lang="en-US" sz="11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u</a:t>
            </a:r>
            <a:r>
              <a:rPr lang="en-US" sz="11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scala </a:t>
            </a:r>
            <a:r>
              <a:rPr lang="en-US" sz="11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europea</a:t>
            </a:r>
            <a:endParaRPr lang="en-US" sz="1100" b="1" dirty="0">
              <a:solidFill>
                <a:schemeClr val="tx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sp>
        <p:nvSpPr>
          <p:cNvPr id="16" name="Rectangle: Rounded Corners 61">
            <a:extLst>
              <a:ext uri="{FF2B5EF4-FFF2-40B4-BE49-F238E27FC236}">
                <a16:creationId xmlns:a16="http://schemas.microsoft.com/office/drawing/2014/main" id="{9B7F8E20-67B5-712F-BB05-3903864B9283}"/>
              </a:ext>
            </a:extLst>
          </p:cNvPr>
          <p:cNvSpPr/>
          <p:nvPr/>
        </p:nvSpPr>
        <p:spPr>
          <a:xfrm>
            <a:off x="7080596" y="1903098"/>
            <a:ext cx="2084400" cy="154032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36000" rIns="180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600"/>
              </a:spcBef>
              <a:defRPr/>
            </a:pP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efinir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I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rincipali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framework di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viluppo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ei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vari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asi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’uso</a:t>
            </a:r>
            <a:endParaRPr lang="en-US" sz="1200" b="1" dirty="0">
              <a:solidFill>
                <a:schemeClr val="tx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sp>
        <p:nvSpPr>
          <p:cNvPr id="17" name="Rectangle: Rounded Corners 61">
            <a:extLst>
              <a:ext uri="{FF2B5EF4-FFF2-40B4-BE49-F238E27FC236}">
                <a16:creationId xmlns:a16="http://schemas.microsoft.com/office/drawing/2014/main" id="{437D1517-C080-2C91-4655-D3EE35CF18B1}"/>
              </a:ext>
            </a:extLst>
          </p:cNvPr>
          <p:cNvSpPr/>
          <p:nvPr/>
        </p:nvSpPr>
        <p:spPr>
          <a:xfrm>
            <a:off x="9082265" y="1856189"/>
            <a:ext cx="2084400" cy="154032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36000" rIns="180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600"/>
              </a:spcBef>
              <a:defRPr/>
            </a:pP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ndivider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risultati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ed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terar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ull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roposte</a:t>
            </a:r>
            <a:endParaRPr lang="en-US" sz="1200" b="1" dirty="0">
              <a:solidFill>
                <a:schemeClr val="tx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sp>
        <p:nvSpPr>
          <p:cNvPr id="18" name="Rectangle: Rounded Corners 61">
            <a:extLst>
              <a:ext uri="{FF2B5EF4-FFF2-40B4-BE49-F238E27FC236}">
                <a16:creationId xmlns:a16="http://schemas.microsoft.com/office/drawing/2014/main" id="{0A0D6F56-11F0-6984-4068-45F6BFC36793}"/>
              </a:ext>
            </a:extLst>
          </p:cNvPr>
          <p:cNvSpPr/>
          <p:nvPr/>
        </p:nvSpPr>
        <p:spPr>
          <a:xfrm>
            <a:off x="2829065" y="4215764"/>
            <a:ext cx="2084400" cy="154032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36000" rIns="180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600"/>
              </a:spcBef>
              <a:defRPr/>
            </a:pP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istribuir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la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noscenza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maturate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negli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LSP a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livello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nterno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</a:p>
        </p:txBody>
      </p:sp>
      <p:sp>
        <p:nvSpPr>
          <p:cNvPr id="19" name="Rectangle: Rounded Corners 61">
            <a:extLst>
              <a:ext uri="{FF2B5EF4-FFF2-40B4-BE49-F238E27FC236}">
                <a16:creationId xmlns:a16="http://schemas.microsoft.com/office/drawing/2014/main" id="{32C246A9-9565-0184-C2D8-89C77DC6F133}"/>
              </a:ext>
            </a:extLst>
          </p:cNvPr>
          <p:cNvSpPr/>
          <p:nvPr/>
        </p:nvSpPr>
        <p:spPr>
          <a:xfrm>
            <a:off x="4884272" y="4256952"/>
            <a:ext cx="2084400" cy="154032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36000" rIns="180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600"/>
              </a:spcBef>
              <a:defRPr/>
            </a:pP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ortar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a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bordo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team e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ziend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el Gruppo per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oter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struir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e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testar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i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rimi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asi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d’uso</a:t>
            </a:r>
            <a:endParaRPr lang="en-US" sz="1200" b="1" dirty="0">
              <a:solidFill>
                <a:schemeClr val="tx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sp>
        <p:nvSpPr>
          <p:cNvPr id="20" name="Rectangle: Rounded Corners 61">
            <a:extLst>
              <a:ext uri="{FF2B5EF4-FFF2-40B4-BE49-F238E27FC236}">
                <a16:creationId xmlns:a16="http://schemas.microsoft.com/office/drawing/2014/main" id="{631F3D5A-6D16-E56F-BB82-FA9FFC5FCC15}"/>
              </a:ext>
            </a:extLst>
          </p:cNvPr>
          <p:cNvSpPr/>
          <p:nvPr/>
        </p:nvSpPr>
        <p:spPr>
          <a:xfrm>
            <a:off x="7080596" y="4238387"/>
            <a:ext cx="2084400" cy="154032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36000" rIns="180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600"/>
              </a:spcBef>
              <a:defRPr/>
            </a:pP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Testar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per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maturar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noscenza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e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nsapevolezza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i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rodotto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in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fas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di </a:t>
            </a:r>
            <a:r>
              <a:rPr lang="en-US" sz="1200" b="1" i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go-live</a:t>
            </a:r>
          </a:p>
        </p:txBody>
      </p:sp>
      <p:sp>
        <p:nvSpPr>
          <p:cNvPr id="21" name="Rectangle: Rounded Corners 61">
            <a:extLst>
              <a:ext uri="{FF2B5EF4-FFF2-40B4-BE49-F238E27FC236}">
                <a16:creationId xmlns:a16="http://schemas.microsoft.com/office/drawing/2014/main" id="{A23D60E3-84B8-4D5A-8729-D58F8A347495}"/>
              </a:ext>
            </a:extLst>
          </p:cNvPr>
          <p:cNvSpPr/>
          <p:nvPr/>
        </p:nvSpPr>
        <p:spPr>
          <a:xfrm>
            <a:off x="9082265" y="4191477"/>
            <a:ext cx="2084400" cy="154032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36000" rIns="180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600"/>
              </a:spcBef>
              <a:defRPr/>
            </a:pP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Collaborar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ttivament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con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aziend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terz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per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poter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viluppar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oluzioni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olide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su</a:t>
            </a:r>
            <a:r>
              <a:rPr lang="en-US" sz="1200" b="1" dirty="0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 scala </a:t>
            </a:r>
            <a:r>
              <a:rPr lang="en-US" sz="1200" b="1" dirty="0" err="1">
                <a:solidFill>
                  <a:schemeClr val="tx1"/>
                </a:solidFill>
                <a:latin typeface="Sella Regular" panose="02000503040000020004" pitchFamily="2" charset="0"/>
                <a:ea typeface="Sella Regular" panose="02000503040000020004" pitchFamily="2" charset="0"/>
                <a:cs typeface="Sella Regular" panose="02000503040000020004" pitchFamily="2" charset="0"/>
              </a:rPr>
              <a:t>europea</a:t>
            </a:r>
            <a:endParaRPr lang="en-US" sz="1200" b="1" i="1" dirty="0">
              <a:solidFill>
                <a:schemeClr val="tx1"/>
              </a:solidFill>
              <a:latin typeface="Sella Regular" panose="02000503040000020004" pitchFamily="2" charset="0"/>
              <a:ea typeface="Sella Regular" panose="02000503040000020004" pitchFamily="2" charset="0"/>
              <a:cs typeface="Sella Regular" panose="02000503040000020004" pitchFamily="2" charset="0"/>
            </a:endParaRPr>
          </a:p>
        </p:txBody>
      </p:sp>
      <p:pic>
        <p:nvPicPr>
          <p:cNvPr id="22" name="Elemento grafico 21" descr="Libro aperto contorno">
            <a:extLst>
              <a:ext uri="{FF2B5EF4-FFF2-40B4-BE49-F238E27FC236}">
                <a16:creationId xmlns:a16="http://schemas.microsoft.com/office/drawing/2014/main" id="{60F6CE22-0B02-D70C-B3F2-8FDD3195029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949138" y="1838082"/>
            <a:ext cx="457200" cy="457200"/>
          </a:xfrm>
          <a:prstGeom prst="rect">
            <a:avLst/>
          </a:prstGeom>
        </p:spPr>
      </p:pic>
      <p:pic>
        <p:nvPicPr>
          <p:cNvPr id="23" name="Elemento grafico 22" descr="Rete utente con riempimento a tinta unita">
            <a:extLst>
              <a:ext uri="{FF2B5EF4-FFF2-40B4-BE49-F238E27FC236}">
                <a16:creationId xmlns:a16="http://schemas.microsoft.com/office/drawing/2014/main" id="{949EBBA8-44A3-05C5-7D5B-87307A46641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59920" y="1831674"/>
            <a:ext cx="457200" cy="457200"/>
          </a:xfrm>
          <a:prstGeom prst="rect">
            <a:avLst/>
          </a:prstGeom>
        </p:spPr>
      </p:pic>
      <p:pic>
        <p:nvPicPr>
          <p:cNvPr id="24" name="Elemento grafico 23" descr="Riunione con riempimento a tinta unita">
            <a:extLst>
              <a:ext uri="{FF2B5EF4-FFF2-40B4-BE49-F238E27FC236}">
                <a16:creationId xmlns:a16="http://schemas.microsoft.com/office/drawing/2014/main" id="{DDCE43D0-BB0C-DA1F-9E3D-F9BBF425D1F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7726" y="1796229"/>
            <a:ext cx="457200" cy="457200"/>
          </a:xfrm>
          <a:prstGeom prst="rect">
            <a:avLst/>
          </a:prstGeom>
        </p:spPr>
      </p:pic>
      <p:pic>
        <p:nvPicPr>
          <p:cNvPr id="25" name="Elemento grafico 24" descr="Luci accese con riempimento a tinta unita">
            <a:extLst>
              <a:ext uri="{FF2B5EF4-FFF2-40B4-BE49-F238E27FC236}">
                <a16:creationId xmlns:a16="http://schemas.microsoft.com/office/drawing/2014/main" id="{9E199EA1-8AA5-D535-D0A4-F70B949A7EB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70702" y="1796229"/>
            <a:ext cx="457200" cy="457200"/>
          </a:xfrm>
          <a:prstGeom prst="rect">
            <a:avLst/>
          </a:prstGeom>
        </p:spPr>
      </p:pic>
      <p:pic>
        <p:nvPicPr>
          <p:cNvPr id="26" name="Elemento grafico 25" descr="Aula con riempimento a tinta unita">
            <a:extLst>
              <a:ext uri="{FF2B5EF4-FFF2-40B4-BE49-F238E27FC236}">
                <a16:creationId xmlns:a16="http://schemas.microsoft.com/office/drawing/2014/main" id="{DEA0BE8B-0E39-A813-40DA-20DF8F86504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49138" y="3942919"/>
            <a:ext cx="457200" cy="457200"/>
          </a:xfrm>
          <a:prstGeom prst="rect">
            <a:avLst/>
          </a:prstGeom>
        </p:spPr>
      </p:pic>
      <p:pic>
        <p:nvPicPr>
          <p:cNvPr id="27" name="Elemento grafico 26" descr="Programmatore (maschile) con riempimento a tinta unita">
            <a:extLst>
              <a:ext uri="{FF2B5EF4-FFF2-40B4-BE49-F238E27FC236}">
                <a16:creationId xmlns:a16="http://schemas.microsoft.com/office/drawing/2014/main" id="{60DD295F-B0D0-6548-B351-1351811D1A3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59920" y="3926403"/>
            <a:ext cx="457200" cy="457200"/>
          </a:xfrm>
          <a:prstGeom prst="rect">
            <a:avLst/>
          </a:prstGeom>
        </p:spPr>
      </p:pic>
      <p:pic>
        <p:nvPicPr>
          <p:cNvPr id="28" name="Elemento grafico 27" descr="Diagramma di flusso circolare con riempimento a tinta unita">
            <a:extLst>
              <a:ext uri="{FF2B5EF4-FFF2-40B4-BE49-F238E27FC236}">
                <a16:creationId xmlns:a16="http://schemas.microsoft.com/office/drawing/2014/main" id="{6BE8CEE7-5ADE-88D6-FC29-3002F30CF55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67461" y="3926403"/>
            <a:ext cx="457200" cy="457200"/>
          </a:xfrm>
          <a:prstGeom prst="rect">
            <a:avLst/>
          </a:prstGeom>
        </p:spPr>
      </p:pic>
      <p:pic>
        <p:nvPicPr>
          <p:cNvPr id="29" name="Elemento grafico 28" descr="Mondo con riempimento a tinta unita">
            <a:extLst>
              <a:ext uri="{FF2B5EF4-FFF2-40B4-BE49-F238E27FC236}">
                <a16:creationId xmlns:a16="http://schemas.microsoft.com/office/drawing/2014/main" id="{B038A928-2042-B9F0-95D4-CC181CF39F6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75003" y="3926403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5048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54460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2019-03-26 Tema Sella">
  <a:themeElements>
    <a:clrScheme name="Personalizzati 6">
      <a:dk1>
        <a:srgbClr val="555555"/>
      </a:dk1>
      <a:lt1>
        <a:srgbClr val="FFFFFF"/>
      </a:lt1>
      <a:dk2>
        <a:srgbClr val="1036C4"/>
      </a:dk2>
      <a:lt2>
        <a:srgbClr val="E7E6E6"/>
      </a:lt2>
      <a:accent1>
        <a:srgbClr val="1036C4"/>
      </a:accent1>
      <a:accent2>
        <a:srgbClr val="23345D"/>
      </a:accent2>
      <a:accent3>
        <a:srgbClr val="4EA7CD"/>
      </a:accent3>
      <a:accent4>
        <a:srgbClr val="94CDF0"/>
      </a:accent4>
      <a:accent5>
        <a:srgbClr val="FFA101"/>
      </a:accent5>
      <a:accent6>
        <a:srgbClr val="919191"/>
      </a:accent6>
      <a:hlink>
        <a:srgbClr val="4DA7CD"/>
      </a:hlink>
      <a:folHlink>
        <a:srgbClr val="2434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wrap="none" rtlCol="0" anchor="ctr">
        <a:noAutofit/>
      </a:bodyPr>
      <a:lstStyle>
        <a:defPPr algn="ctr">
          <a:defRPr sz="1600" b="1" dirty="0" smtClean="0">
            <a:solidFill>
              <a:srgbClr val="002060"/>
            </a:solidFill>
            <a:latin typeface="Sella Bold" panose="02000503040000020004" pitchFamily="50" charset="0"/>
            <a:ea typeface="Sella Bold" panose="02000503040000020004" pitchFamily="50" charset="0"/>
            <a:cs typeface="Sella Bold" panose="02000503040000020004" pitchFamily="50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9-03-26 Tema Sella" id="{452FE1FA-8CE6-3C43-A48F-2810EC11D956}" vid="{28BA9174-2BE4-9A46-813D-C1C506AC17BC}"/>
    </a:ext>
  </a:extLst>
</a:theme>
</file>

<file path=ppt/theme/theme2.xml><?xml version="1.0" encoding="utf-8"?>
<a:theme xmlns:a="http://schemas.openxmlformats.org/drawingml/2006/main" name="2019-03-26 Tema Sella">
  <a:themeElements>
    <a:clrScheme name="Personalizzati 6">
      <a:dk1>
        <a:srgbClr val="555555"/>
      </a:dk1>
      <a:lt1>
        <a:srgbClr val="FFFFFF"/>
      </a:lt1>
      <a:dk2>
        <a:srgbClr val="1036C4"/>
      </a:dk2>
      <a:lt2>
        <a:srgbClr val="E7E6E6"/>
      </a:lt2>
      <a:accent1>
        <a:srgbClr val="1036C4"/>
      </a:accent1>
      <a:accent2>
        <a:srgbClr val="23345D"/>
      </a:accent2>
      <a:accent3>
        <a:srgbClr val="4EA7CD"/>
      </a:accent3>
      <a:accent4>
        <a:srgbClr val="94CDF0"/>
      </a:accent4>
      <a:accent5>
        <a:srgbClr val="FFA101"/>
      </a:accent5>
      <a:accent6>
        <a:srgbClr val="919191"/>
      </a:accent6>
      <a:hlink>
        <a:srgbClr val="4DA7CD"/>
      </a:hlink>
      <a:folHlink>
        <a:srgbClr val="2434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9-03-26 Tema Sella" id="{452FE1FA-8CE6-3C43-A48F-2810EC11D956}" vid="{28BA9174-2BE4-9A46-813D-C1C506AC17B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91b02abd-daec-432a-8ee4-b5137910aca6}" enabled="0" method="" siteId="{91b02abd-daec-432a-8ee4-b5137910aca6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2</TotalTime>
  <Words>603</Words>
  <Application>Microsoft Macintosh PowerPoint</Application>
  <PresentationFormat>Widescreen</PresentationFormat>
  <Paragraphs>53</Paragraphs>
  <Slides>5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5</vt:i4>
      </vt:variant>
    </vt:vector>
  </HeadingPairs>
  <TitlesOfParts>
    <vt:vector size="17" baseType="lpstr">
      <vt:lpstr>Aptos</vt:lpstr>
      <vt:lpstr>Arial</vt:lpstr>
      <vt:lpstr>Calibri</vt:lpstr>
      <vt:lpstr>Century Gothic</vt:lpstr>
      <vt:lpstr>Sella Bold</vt:lpstr>
      <vt:lpstr>Sella Regular</vt:lpstr>
      <vt:lpstr>Sella Stencil</vt:lpstr>
      <vt:lpstr>Wingdings</vt:lpstr>
      <vt:lpstr>2_2019-03-26 Tema Sella</vt:lpstr>
      <vt:lpstr>2019-03-26 Tema Sella</vt:lpstr>
      <vt:lpstr>Diapositiva think-cell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tline Operativo – Raccolta Dati Crypto</dc:title>
  <dc:subject/>
  <dc:creator>Guaitoli Elena (Stage)</dc:creator>
  <cp:keywords/>
  <dc:description>generated using python-pptx</dc:description>
  <cp:lastModifiedBy>Filippo Chiricozzi</cp:lastModifiedBy>
  <cp:revision>5</cp:revision>
  <dcterms:created xsi:type="dcterms:W3CDTF">2013-01-27T09:14:16Z</dcterms:created>
  <dcterms:modified xsi:type="dcterms:W3CDTF">2026-04-27T13:36:57Z</dcterms:modified>
  <cp:category/>
</cp:coreProperties>
</file>